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omments/comment1.xml" ContentType="application/vnd.openxmlformats-officedocument.presentationml.comment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4"/>
  </p:sldMasterIdLst>
  <p:notesMasterIdLst>
    <p:notesMasterId r:id="rId18"/>
  </p:notesMasterIdLst>
  <p:handoutMasterIdLst>
    <p:handoutMasterId r:id="rId19"/>
  </p:handoutMasterIdLst>
  <p:sldIdLst>
    <p:sldId id="256" r:id="rId5"/>
    <p:sldId id="268" r:id="rId6"/>
    <p:sldId id="269" r:id="rId7"/>
    <p:sldId id="263" r:id="rId8"/>
    <p:sldId id="264" r:id="rId9"/>
    <p:sldId id="265" r:id="rId10"/>
    <p:sldId id="266" r:id="rId11"/>
    <p:sldId id="259" r:id="rId12"/>
    <p:sldId id="260" r:id="rId13"/>
    <p:sldId id="261" r:id="rId14"/>
    <p:sldId id="267" r:id="rId15"/>
    <p:sldId id="270" r:id="rId16"/>
    <p:sldId id="271" r:id="rId17"/>
  </p:sldIdLst>
  <p:sldSz cx="12192000" cy="6858000"/>
  <p:notesSz cx="6735763" cy="9866313"/>
  <p:custDataLst>
    <p:tags r:id="rId20"/>
  </p:custDataLst>
  <p:defaultText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Tekijä" initials="A" lastIdx="4"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8D2FF"/>
    <a:srgbClr val="A5B4FF"/>
    <a:srgbClr val="7D91FF"/>
    <a:srgbClr val="4B64FF"/>
    <a:srgbClr val="0000B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Normaali tyyli 2 - Korostu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Vaalea tyyli 2 - Korostus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813" autoAdjust="0"/>
    <p:restoredTop sz="96327" autoAdjust="0"/>
  </p:normalViewPr>
  <p:slideViewPr>
    <p:cSldViewPr snapToGrid="0" showGuides="1">
      <p:cViewPr varScale="1">
        <p:scale>
          <a:sx n="39" d="100"/>
          <a:sy n="39" d="100"/>
        </p:scale>
        <p:origin x="836" y="28"/>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10" d="100"/>
        <a:sy n="110" d="100"/>
      </p:scale>
      <p:origin x="0" y="0"/>
    </p:cViewPr>
  </p:sorterViewPr>
  <p:notesViewPr>
    <p:cSldViewPr snapToGrid="0" showGuides="1">
      <p:cViewPr>
        <p:scale>
          <a:sx n="125" d="100"/>
          <a:sy n="125" d="100"/>
        </p:scale>
        <p:origin x="164" y="-212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s>
</file>

<file path=ppt/comments/comment1.xml><?xml version="1.0" encoding="utf-8"?>
<p:cmLst xmlns:a="http://schemas.openxmlformats.org/drawingml/2006/main" xmlns:r="http://schemas.openxmlformats.org/officeDocument/2006/relationships" xmlns:p="http://schemas.openxmlformats.org/presentationml/2006/main">
  <p:cm authorId="2" dt="2023-06-05T10:40:55.756" idx="2">
    <p:pos x="7680" y="0"/>
    <p:text>Vai liikkumispalvelut?</p:text>
    <p:extLst>
      <p:ext uri="{C676402C-5697-4E1C-873F-D02D1690AC5C}">
        <p15:threadingInfo xmlns:p15="http://schemas.microsoft.com/office/powerpoint/2012/main" timeZoneBias="-18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Ylätunnisteen paikkamerkki 1">
            <a:extLst>
              <a:ext uri="{FF2B5EF4-FFF2-40B4-BE49-F238E27FC236}">
                <a16:creationId xmlns:a16="http://schemas.microsoft.com/office/drawing/2014/main" id="{98BEE041-CB11-443B-AD3E-EA087971890D}"/>
              </a:ext>
            </a:extLst>
          </p:cNvPr>
          <p:cNvSpPr>
            <a:spLocks noGrp="1"/>
          </p:cNvSpPr>
          <p:nvPr>
            <p:ph type="hdr" sz="quarter"/>
          </p:nvPr>
        </p:nvSpPr>
        <p:spPr>
          <a:xfrm>
            <a:off x="1" y="1"/>
            <a:ext cx="2918831" cy="495029"/>
          </a:xfrm>
          <a:prstGeom prst="rect">
            <a:avLst/>
          </a:prstGeom>
        </p:spPr>
        <p:txBody>
          <a:bodyPr vert="horz" lIns="91440" tIns="45720" rIns="91440" bIns="45720" rtlCol="0"/>
          <a:lstStyle>
            <a:lvl1pPr algn="l">
              <a:defRPr sz="1200"/>
            </a:lvl1pPr>
          </a:lstStyle>
          <a:p>
            <a:endParaRPr lang="fi-FI"/>
          </a:p>
        </p:txBody>
      </p:sp>
      <p:sp>
        <p:nvSpPr>
          <p:cNvPr id="3" name="Päivämäärän paikkamerkki 2">
            <a:extLst>
              <a:ext uri="{FF2B5EF4-FFF2-40B4-BE49-F238E27FC236}">
                <a16:creationId xmlns:a16="http://schemas.microsoft.com/office/drawing/2014/main" id="{6FF1F166-BA9E-438C-A9EB-7F2A93D1CFDC}"/>
              </a:ext>
            </a:extLst>
          </p:cNvPr>
          <p:cNvSpPr>
            <a:spLocks noGrp="1"/>
          </p:cNvSpPr>
          <p:nvPr>
            <p:ph type="dt" sz="quarter" idx="1"/>
          </p:nvPr>
        </p:nvSpPr>
        <p:spPr>
          <a:xfrm>
            <a:off x="3815373" y="1"/>
            <a:ext cx="2918831" cy="495029"/>
          </a:xfrm>
          <a:prstGeom prst="rect">
            <a:avLst/>
          </a:prstGeom>
        </p:spPr>
        <p:txBody>
          <a:bodyPr vert="horz" lIns="91440" tIns="45720" rIns="91440" bIns="45720" rtlCol="0"/>
          <a:lstStyle>
            <a:lvl1pPr algn="r">
              <a:defRPr sz="1200"/>
            </a:lvl1pPr>
          </a:lstStyle>
          <a:p>
            <a:fld id="{B8A78304-EB1D-4877-8EA7-E204203C9AE3}" type="datetimeFigureOut">
              <a:rPr lang="fi-FI" smtClean="0"/>
              <a:t>26.6.2023</a:t>
            </a:fld>
            <a:endParaRPr lang="fi-FI"/>
          </a:p>
        </p:txBody>
      </p:sp>
      <p:sp>
        <p:nvSpPr>
          <p:cNvPr id="4" name="Alatunnisteen paikkamerkki 3">
            <a:extLst>
              <a:ext uri="{FF2B5EF4-FFF2-40B4-BE49-F238E27FC236}">
                <a16:creationId xmlns:a16="http://schemas.microsoft.com/office/drawing/2014/main" id="{97C81270-3D5C-45E4-946E-DB719F8304B9}"/>
              </a:ext>
            </a:extLst>
          </p:cNvPr>
          <p:cNvSpPr>
            <a:spLocks noGrp="1"/>
          </p:cNvSpPr>
          <p:nvPr>
            <p:ph type="ftr" sz="quarter" idx="2"/>
          </p:nvPr>
        </p:nvSpPr>
        <p:spPr>
          <a:xfrm>
            <a:off x="1" y="9371286"/>
            <a:ext cx="2918831" cy="495028"/>
          </a:xfrm>
          <a:prstGeom prst="rect">
            <a:avLst/>
          </a:prstGeom>
        </p:spPr>
        <p:txBody>
          <a:bodyPr vert="horz" lIns="91440" tIns="45720" rIns="91440" bIns="45720" rtlCol="0" anchor="b"/>
          <a:lstStyle>
            <a:lvl1pPr algn="l">
              <a:defRPr sz="1200"/>
            </a:lvl1pPr>
          </a:lstStyle>
          <a:p>
            <a:endParaRPr lang="fi-FI"/>
          </a:p>
        </p:txBody>
      </p:sp>
      <p:sp>
        <p:nvSpPr>
          <p:cNvPr id="5" name="Dian numeron paikkamerkki 4">
            <a:extLst>
              <a:ext uri="{FF2B5EF4-FFF2-40B4-BE49-F238E27FC236}">
                <a16:creationId xmlns:a16="http://schemas.microsoft.com/office/drawing/2014/main" id="{5CAB58F5-9A06-4EC1-AF8F-10C156C23772}"/>
              </a:ext>
            </a:extLst>
          </p:cNvPr>
          <p:cNvSpPr>
            <a:spLocks noGrp="1"/>
          </p:cNvSpPr>
          <p:nvPr>
            <p:ph type="sldNum" sz="quarter" idx="3"/>
          </p:nvPr>
        </p:nvSpPr>
        <p:spPr>
          <a:xfrm>
            <a:off x="3815373" y="9371286"/>
            <a:ext cx="2918831" cy="495028"/>
          </a:xfrm>
          <a:prstGeom prst="rect">
            <a:avLst/>
          </a:prstGeom>
        </p:spPr>
        <p:txBody>
          <a:bodyPr vert="horz" lIns="91440" tIns="45720" rIns="91440" bIns="45720" rtlCol="0" anchor="b"/>
          <a:lstStyle>
            <a:lvl1pPr algn="r">
              <a:defRPr sz="1200"/>
            </a:lvl1pPr>
          </a:lstStyle>
          <a:p>
            <a:fld id="{F984BDD3-507E-4253-A7A9-841F6318CFE0}" type="slidenum">
              <a:rPr lang="fi-FI" smtClean="0"/>
              <a:t>‹#›</a:t>
            </a:fld>
            <a:endParaRPr lang="fi-FI"/>
          </a:p>
        </p:txBody>
      </p:sp>
    </p:spTree>
    <p:extLst>
      <p:ext uri="{BB962C8B-B14F-4D97-AF65-F5344CB8AC3E}">
        <p14:creationId xmlns:p14="http://schemas.microsoft.com/office/powerpoint/2010/main" val="40398667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Ylätunnisteen paikkamerkki 1"/>
          <p:cNvSpPr>
            <a:spLocks noGrp="1"/>
          </p:cNvSpPr>
          <p:nvPr>
            <p:ph type="hdr" sz="quarter"/>
          </p:nvPr>
        </p:nvSpPr>
        <p:spPr>
          <a:xfrm>
            <a:off x="1" y="1"/>
            <a:ext cx="2918831" cy="495029"/>
          </a:xfrm>
          <a:prstGeom prst="rect">
            <a:avLst/>
          </a:prstGeom>
        </p:spPr>
        <p:txBody>
          <a:bodyPr vert="horz" lIns="91440" tIns="45720" rIns="91440" bIns="45720" rtlCol="0"/>
          <a:lstStyle>
            <a:lvl1pPr algn="l">
              <a:defRPr sz="1200"/>
            </a:lvl1pPr>
          </a:lstStyle>
          <a:p>
            <a:endParaRPr lang="fi-FI"/>
          </a:p>
        </p:txBody>
      </p:sp>
      <p:sp>
        <p:nvSpPr>
          <p:cNvPr id="3" name="Päivämäärän paikkamerkki 2"/>
          <p:cNvSpPr>
            <a:spLocks noGrp="1"/>
          </p:cNvSpPr>
          <p:nvPr>
            <p:ph type="dt" idx="1"/>
          </p:nvPr>
        </p:nvSpPr>
        <p:spPr>
          <a:xfrm>
            <a:off x="3815373" y="1"/>
            <a:ext cx="2918831" cy="495029"/>
          </a:xfrm>
          <a:prstGeom prst="rect">
            <a:avLst/>
          </a:prstGeom>
        </p:spPr>
        <p:txBody>
          <a:bodyPr vert="horz" lIns="91440" tIns="45720" rIns="91440" bIns="45720" rtlCol="0"/>
          <a:lstStyle>
            <a:lvl1pPr algn="r">
              <a:defRPr sz="1200"/>
            </a:lvl1pPr>
          </a:lstStyle>
          <a:p>
            <a:fld id="{6C8EB657-AA9B-4253-8FF7-9AD43078E620}" type="datetimeFigureOut">
              <a:rPr lang="fi-FI" smtClean="0"/>
              <a:t>26.6.2023</a:t>
            </a:fld>
            <a:endParaRPr lang="fi-FI"/>
          </a:p>
        </p:txBody>
      </p:sp>
      <p:sp>
        <p:nvSpPr>
          <p:cNvPr id="4" name="Dian kuvan paikkamerkki 3"/>
          <p:cNvSpPr>
            <a:spLocks noGrp="1" noRot="1" noChangeAspect="1"/>
          </p:cNvSpPr>
          <p:nvPr>
            <p:ph type="sldImg" idx="2"/>
          </p:nvPr>
        </p:nvSpPr>
        <p:spPr>
          <a:xfrm>
            <a:off x="409575" y="1233488"/>
            <a:ext cx="5916613" cy="3328987"/>
          </a:xfrm>
          <a:prstGeom prst="rect">
            <a:avLst/>
          </a:prstGeom>
          <a:noFill/>
          <a:ln w="12700">
            <a:solidFill>
              <a:prstClr val="black"/>
            </a:solidFill>
          </a:ln>
        </p:spPr>
        <p:txBody>
          <a:bodyPr vert="horz" lIns="91440" tIns="45720" rIns="91440" bIns="45720" rtlCol="0" anchor="ctr"/>
          <a:lstStyle/>
          <a:p>
            <a:endParaRPr lang="fi-FI"/>
          </a:p>
        </p:txBody>
      </p:sp>
      <p:sp>
        <p:nvSpPr>
          <p:cNvPr id="5" name="Huomautusten paikkamerkki 4"/>
          <p:cNvSpPr>
            <a:spLocks noGrp="1"/>
          </p:cNvSpPr>
          <p:nvPr>
            <p:ph type="body" sz="quarter" idx="3"/>
          </p:nvPr>
        </p:nvSpPr>
        <p:spPr>
          <a:xfrm>
            <a:off x="673577" y="4748164"/>
            <a:ext cx="5388610" cy="3884861"/>
          </a:xfrm>
          <a:prstGeom prst="rect">
            <a:avLst/>
          </a:prstGeom>
        </p:spPr>
        <p:txBody>
          <a:bodyPr vert="horz" lIns="91440" tIns="45720" rIns="91440" bIns="45720" rtlCol="0"/>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sp>
        <p:nvSpPr>
          <p:cNvPr id="6" name="Alatunnisteen paikkamerkki 5"/>
          <p:cNvSpPr>
            <a:spLocks noGrp="1"/>
          </p:cNvSpPr>
          <p:nvPr>
            <p:ph type="ftr" sz="quarter" idx="4"/>
          </p:nvPr>
        </p:nvSpPr>
        <p:spPr>
          <a:xfrm>
            <a:off x="1" y="9371286"/>
            <a:ext cx="2918831" cy="495028"/>
          </a:xfrm>
          <a:prstGeom prst="rect">
            <a:avLst/>
          </a:prstGeom>
        </p:spPr>
        <p:txBody>
          <a:bodyPr vert="horz" lIns="91440" tIns="45720" rIns="91440" bIns="45720" rtlCol="0" anchor="b"/>
          <a:lstStyle>
            <a:lvl1pPr algn="l">
              <a:defRPr sz="1200"/>
            </a:lvl1pPr>
          </a:lstStyle>
          <a:p>
            <a:endParaRPr lang="fi-FI"/>
          </a:p>
        </p:txBody>
      </p:sp>
      <p:sp>
        <p:nvSpPr>
          <p:cNvPr id="7" name="Dian numeron paikkamerkki 6"/>
          <p:cNvSpPr>
            <a:spLocks noGrp="1"/>
          </p:cNvSpPr>
          <p:nvPr>
            <p:ph type="sldNum" sz="quarter" idx="5"/>
          </p:nvPr>
        </p:nvSpPr>
        <p:spPr>
          <a:xfrm>
            <a:off x="3815373" y="9371286"/>
            <a:ext cx="2918831" cy="495028"/>
          </a:xfrm>
          <a:prstGeom prst="rect">
            <a:avLst/>
          </a:prstGeom>
        </p:spPr>
        <p:txBody>
          <a:bodyPr vert="horz" lIns="91440" tIns="45720" rIns="91440" bIns="45720" rtlCol="0" anchor="b"/>
          <a:lstStyle>
            <a:lvl1pPr algn="r">
              <a:defRPr sz="1200"/>
            </a:lvl1pPr>
          </a:lstStyle>
          <a:p>
            <a:fld id="{394BB65B-F434-457D-80A4-C953E0D7E0F0}" type="slidenum">
              <a:rPr lang="fi-FI" smtClean="0"/>
              <a:t>‹#›</a:t>
            </a:fld>
            <a:endParaRPr lang="fi-FI"/>
          </a:p>
        </p:txBody>
      </p:sp>
    </p:spTree>
    <p:extLst>
      <p:ext uri="{BB962C8B-B14F-4D97-AF65-F5344CB8AC3E}">
        <p14:creationId xmlns:p14="http://schemas.microsoft.com/office/powerpoint/2010/main" val="2295136553"/>
      </p:ext>
    </p:extLst>
  </p:cSld>
  <p:clrMap bg1="lt1" tx1="dk1" bg2="lt2" tx2="dk2" accent1="accent1" accent2="accent2" accent3="accent3" accent4="accent4" accent5="accent5" accent6="accent6" hlink="hlink" folHlink="folHlink"/>
  <p:notesStyle>
    <a:lvl1pPr marL="0" indent="0" algn="l" defTabSz="216000" rtl="0" eaLnBrk="1" latinLnBrk="0" hangingPunct="1">
      <a:lnSpc>
        <a:spcPct val="90000"/>
      </a:lnSpc>
      <a:spcAft>
        <a:spcPts val="1000"/>
      </a:spcAft>
      <a:buFont typeface="Arial" panose="020B0604020202020204" pitchFamily="34" charset="0"/>
      <a:buNone/>
      <a:defRPr sz="1200" kern="1200">
        <a:solidFill>
          <a:schemeClr val="tx1"/>
        </a:solidFill>
        <a:latin typeface="+mn-lt"/>
        <a:ea typeface="+mn-ea"/>
        <a:cs typeface="+mn-cs"/>
      </a:defRPr>
    </a:lvl1pPr>
    <a:lvl2pPr marL="432000" indent="-216000" algn="l" defTabSz="216000" rtl="0" eaLnBrk="1" latinLnBrk="0" hangingPunct="1">
      <a:lnSpc>
        <a:spcPct val="90000"/>
      </a:lnSpc>
      <a:spcAft>
        <a:spcPts val="1000"/>
      </a:spcAft>
      <a:buFont typeface="Arial" panose="020B0604020202020204" pitchFamily="34" charset="0"/>
      <a:buChar char="•"/>
      <a:defRPr sz="1200" kern="1200">
        <a:solidFill>
          <a:schemeClr val="tx1"/>
        </a:solidFill>
        <a:latin typeface="+mn-lt"/>
        <a:ea typeface="+mn-ea"/>
        <a:cs typeface="+mn-cs"/>
      </a:defRPr>
    </a:lvl2pPr>
    <a:lvl3pPr marL="648000" indent="-216000" algn="l" defTabSz="216000" rtl="0" eaLnBrk="1" latinLnBrk="0" hangingPunct="1">
      <a:lnSpc>
        <a:spcPct val="90000"/>
      </a:lnSpc>
      <a:spcAft>
        <a:spcPts val="1000"/>
      </a:spcAft>
      <a:buFont typeface="Arial" panose="020B0604020202020204" pitchFamily="34" charset="0"/>
      <a:buChar char="•"/>
      <a:defRPr sz="1200" kern="1200">
        <a:solidFill>
          <a:schemeClr val="tx1"/>
        </a:solidFill>
        <a:latin typeface="+mn-lt"/>
        <a:ea typeface="+mn-ea"/>
        <a:cs typeface="+mn-cs"/>
      </a:defRPr>
    </a:lvl3pPr>
    <a:lvl4pPr marL="864000" indent="-216000" algn="l" defTabSz="216000" rtl="0" eaLnBrk="1" latinLnBrk="0" hangingPunct="1">
      <a:lnSpc>
        <a:spcPct val="90000"/>
      </a:lnSpc>
      <a:spcAft>
        <a:spcPts val="1000"/>
      </a:spcAft>
      <a:buFont typeface="Arial" panose="020B0604020202020204" pitchFamily="34" charset="0"/>
      <a:buChar char="•"/>
      <a:defRPr sz="1200" kern="1200">
        <a:solidFill>
          <a:schemeClr val="tx1"/>
        </a:solidFill>
        <a:latin typeface="+mn-lt"/>
        <a:ea typeface="+mn-ea"/>
        <a:cs typeface="+mn-cs"/>
      </a:defRPr>
    </a:lvl4pPr>
    <a:lvl5pPr marL="1080000" indent="-216000" algn="l" defTabSz="216000" rtl="0" eaLnBrk="1" latinLnBrk="0" hangingPunct="1">
      <a:lnSpc>
        <a:spcPct val="90000"/>
      </a:lnSpc>
      <a:spcAft>
        <a:spcPts val="1000"/>
      </a:spcAft>
      <a:buFont typeface="Arial" panose="020B0604020202020204" pitchFamily="34"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I"/>
          </a:p>
        </p:txBody>
      </p:sp>
      <p:sp>
        <p:nvSpPr>
          <p:cNvPr id="4" name="Slide Number Placeholder 3"/>
          <p:cNvSpPr>
            <a:spLocks noGrp="1"/>
          </p:cNvSpPr>
          <p:nvPr>
            <p:ph type="sldNum" sz="quarter" idx="5"/>
          </p:nvPr>
        </p:nvSpPr>
        <p:spPr/>
        <p:txBody>
          <a:bodyPr/>
          <a:lstStyle/>
          <a:p>
            <a:fld id="{394BB65B-F434-457D-80A4-C953E0D7E0F0}" type="slidenum">
              <a:rPr lang="fi-FI" smtClean="0"/>
              <a:t>8</a:t>
            </a:fld>
            <a:endParaRPr lang="fi-FI"/>
          </a:p>
        </p:txBody>
      </p:sp>
    </p:spTree>
    <p:extLst>
      <p:ext uri="{BB962C8B-B14F-4D97-AF65-F5344CB8AC3E}">
        <p14:creationId xmlns:p14="http://schemas.microsoft.com/office/powerpoint/2010/main" val="407041453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3.jp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3.jpg"/><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6.jpeg"/><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5.jpg"/><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4.jpg"/><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5.jpg"/><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Otsikkodia - suomi">
    <p:spTree>
      <p:nvGrpSpPr>
        <p:cNvPr id="1" name=""/>
        <p:cNvGrpSpPr/>
        <p:nvPr/>
      </p:nvGrpSpPr>
      <p:grpSpPr>
        <a:xfrm>
          <a:off x="0" y="0"/>
          <a:ext cx="0" cy="0"/>
          <a:chOff x="0" y="0"/>
          <a:chExt cx="0" cy="0"/>
        </a:xfrm>
      </p:grpSpPr>
      <p:graphicFrame>
        <p:nvGraphicFramePr>
          <p:cNvPr id="5" name="Objekti 4" hidden="1">
            <a:extLst>
              <a:ext uri="{FF2B5EF4-FFF2-40B4-BE49-F238E27FC236}">
                <a16:creationId xmlns:a16="http://schemas.microsoft.com/office/drawing/2014/main" id="{B204733A-FFA9-42F0-A8F3-F07A467540AB}"/>
              </a:ext>
            </a:extLst>
          </p:cNvPr>
          <p:cNvGraphicFramePr>
            <a:graphicFrameLocks noChangeAspect="1"/>
          </p:cNvGraphicFramePr>
          <p:nvPr userDrawn="1">
            <p:custDataLst>
              <p:tags r:id="rId2"/>
            </p:custDataLst>
            <p:extLst>
              <p:ext uri="{D42A27DB-BD31-4B8C-83A1-F6EECF244321}">
                <p14:modId xmlns:p14="http://schemas.microsoft.com/office/powerpoint/2010/main" val="3182270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0" name="think-cell Slide" r:id="rId5" imgW="395" imgH="396" progId="TCLayout.ActiveDocument.1">
                  <p:embed/>
                </p:oleObj>
              </mc:Choice>
              <mc:Fallback>
                <p:oleObj name="think-cell Slide" r:id="rId5" imgW="395" imgH="396" progId="TCLayout.ActiveDocument.1">
                  <p:embed/>
                  <p:pic>
                    <p:nvPicPr>
                      <p:cNvPr id="5" name="Objekti 4" hidden="1">
                        <a:extLst>
                          <a:ext uri="{FF2B5EF4-FFF2-40B4-BE49-F238E27FC236}">
                            <a16:creationId xmlns:a16="http://schemas.microsoft.com/office/drawing/2014/main" id="{B204733A-FFA9-42F0-A8F3-F07A467540A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Suorakulmio 3" hidden="1">
            <a:extLst>
              <a:ext uri="{FF2B5EF4-FFF2-40B4-BE49-F238E27FC236}">
                <a16:creationId xmlns:a16="http://schemas.microsoft.com/office/drawing/2014/main" id="{16DB66A1-053D-4FEC-A845-14157EBB3814}"/>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i-FI" sz="4200" b="1" i="0" baseline="0" dirty="0">
              <a:latin typeface="Arial" panose="020B0604020202020204" pitchFamily="34" charset="0"/>
              <a:ea typeface="+mj-ea"/>
              <a:cs typeface="+mj-cs"/>
              <a:sym typeface="Arial" panose="020B0604020202020204" pitchFamily="34" charset="0"/>
            </a:endParaRPr>
          </a:p>
        </p:txBody>
      </p:sp>
      <p:sp>
        <p:nvSpPr>
          <p:cNvPr id="2" name="Otsikko 1">
            <a:extLst>
              <a:ext uri="{FF2B5EF4-FFF2-40B4-BE49-F238E27FC236}">
                <a16:creationId xmlns:a16="http://schemas.microsoft.com/office/drawing/2014/main" id="{A0E0CB56-3495-4C34-A152-2A6DF829887F}"/>
              </a:ext>
            </a:extLst>
          </p:cNvPr>
          <p:cNvSpPr>
            <a:spLocks noGrp="1"/>
          </p:cNvSpPr>
          <p:nvPr>
            <p:ph type="ctrTitle"/>
          </p:nvPr>
        </p:nvSpPr>
        <p:spPr>
          <a:xfrm>
            <a:off x="6120000" y="1684338"/>
            <a:ext cx="5580000" cy="1671648"/>
          </a:xfrm>
        </p:spPr>
        <p:txBody>
          <a:bodyPr anchor="b">
            <a:noAutofit/>
          </a:bodyPr>
          <a:lstStyle>
            <a:lvl1pPr algn="l">
              <a:lnSpc>
                <a:spcPct val="90000"/>
              </a:lnSpc>
              <a:defRPr sz="4200" baseline="0"/>
            </a:lvl1pPr>
          </a:lstStyle>
          <a:p>
            <a:r>
              <a:rPr lang="fi-FI"/>
              <a:t>Muokkaa perustyyl. napsautt.</a:t>
            </a:r>
            <a:endParaRPr lang="fi-FI" dirty="0"/>
          </a:p>
        </p:txBody>
      </p:sp>
      <p:sp>
        <p:nvSpPr>
          <p:cNvPr id="3" name="Alaotsikko 2">
            <a:extLst>
              <a:ext uri="{FF2B5EF4-FFF2-40B4-BE49-F238E27FC236}">
                <a16:creationId xmlns:a16="http://schemas.microsoft.com/office/drawing/2014/main" id="{8942C8DB-AC1A-44C6-8643-5202CDA31CAB}"/>
              </a:ext>
            </a:extLst>
          </p:cNvPr>
          <p:cNvSpPr>
            <a:spLocks noGrp="1"/>
          </p:cNvSpPr>
          <p:nvPr>
            <p:ph type="subTitle" idx="1"/>
          </p:nvPr>
        </p:nvSpPr>
        <p:spPr>
          <a:xfrm>
            <a:off x="6120000" y="3960000"/>
            <a:ext cx="4548000" cy="1090155"/>
          </a:xfrm>
        </p:spPr>
        <p:txBody>
          <a:bodyPr anchor="t" anchorCtr="0">
            <a:noAutofit/>
          </a:bodyPr>
          <a:lstStyle>
            <a:lvl1pPr marL="0" indent="0" algn="l">
              <a:spcBef>
                <a:spcPts val="0"/>
              </a:spcBef>
              <a:buNone/>
              <a:defRPr sz="20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a:t>Muokkaa alaotsikon perustyyliä napsautt.</a:t>
            </a:r>
            <a:endParaRPr lang="fi-FI" dirty="0"/>
          </a:p>
        </p:txBody>
      </p:sp>
      <p:sp>
        <p:nvSpPr>
          <p:cNvPr id="28" name="Kuvan paikkamerkki 27">
            <a:extLst>
              <a:ext uri="{FF2B5EF4-FFF2-40B4-BE49-F238E27FC236}">
                <a16:creationId xmlns:a16="http://schemas.microsoft.com/office/drawing/2014/main" id="{44F119D4-57A0-48F9-8B7A-72F510A26ECF}"/>
              </a:ext>
            </a:extLst>
          </p:cNvPr>
          <p:cNvSpPr>
            <a:spLocks noGrp="1"/>
          </p:cNvSpPr>
          <p:nvPr>
            <p:ph type="pic" sz="quarter" idx="10"/>
          </p:nvPr>
        </p:nvSpPr>
        <p:spPr>
          <a:xfrm>
            <a:off x="-21022" y="-21020"/>
            <a:ext cx="6165763" cy="6888830"/>
          </a:xfrm>
          <a:custGeom>
            <a:avLst/>
            <a:gdLst>
              <a:gd name="connsiteX0" fmla="*/ 0 w 6072188"/>
              <a:gd name="connsiteY0" fmla="*/ 0 h 6865717"/>
              <a:gd name="connsiteX1" fmla="*/ 6072188 w 6072188"/>
              <a:gd name="connsiteY1" fmla="*/ 0 h 6865717"/>
              <a:gd name="connsiteX2" fmla="*/ 6072188 w 6072188"/>
              <a:gd name="connsiteY2" fmla="*/ 6865717 h 6865717"/>
              <a:gd name="connsiteX3" fmla="*/ 0 w 6072188"/>
              <a:gd name="connsiteY3" fmla="*/ 6865717 h 6865717"/>
              <a:gd name="connsiteX4" fmla="*/ 0 w 6072188"/>
              <a:gd name="connsiteY4" fmla="*/ 0 h 6865717"/>
              <a:gd name="connsiteX0" fmla="*/ 0 w 6072188"/>
              <a:gd name="connsiteY0" fmla="*/ 0 h 6885382"/>
              <a:gd name="connsiteX1" fmla="*/ 6072188 w 6072188"/>
              <a:gd name="connsiteY1" fmla="*/ 0 h 6885382"/>
              <a:gd name="connsiteX2" fmla="*/ 6072188 w 6072188"/>
              <a:gd name="connsiteY2" fmla="*/ 6865717 h 6885382"/>
              <a:gd name="connsiteX3" fmla="*/ 3077497 w 6072188"/>
              <a:gd name="connsiteY3" fmla="*/ 6885382 h 6885382"/>
              <a:gd name="connsiteX4" fmla="*/ 0 w 6072188"/>
              <a:gd name="connsiteY4" fmla="*/ 0 h 6885382"/>
              <a:gd name="connsiteX0" fmla="*/ 0 w 6072188"/>
              <a:gd name="connsiteY0" fmla="*/ 0 h 6885382"/>
              <a:gd name="connsiteX1" fmla="*/ 6072188 w 6072188"/>
              <a:gd name="connsiteY1" fmla="*/ 0 h 6885382"/>
              <a:gd name="connsiteX2" fmla="*/ 3077497 w 6072188"/>
              <a:gd name="connsiteY2" fmla="*/ 6885382 h 6885382"/>
              <a:gd name="connsiteX3" fmla="*/ 0 w 6072188"/>
              <a:gd name="connsiteY3" fmla="*/ 0 h 6885382"/>
              <a:gd name="connsiteX0" fmla="*/ 0 w 6160678"/>
              <a:gd name="connsiteY0" fmla="*/ 9832 h 6895214"/>
              <a:gd name="connsiteX1" fmla="*/ 6160678 w 6160678"/>
              <a:gd name="connsiteY1" fmla="*/ 0 h 6895214"/>
              <a:gd name="connsiteX2" fmla="*/ 3077497 w 6160678"/>
              <a:gd name="connsiteY2" fmla="*/ 6895214 h 6895214"/>
              <a:gd name="connsiteX3" fmla="*/ 0 w 6160678"/>
              <a:gd name="connsiteY3" fmla="*/ 9832 h 6895214"/>
              <a:gd name="connsiteX0" fmla="*/ 0 w 6160678"/>
              <a:gd name="connsiteY0" fmla="*/ 9832 h 6875550"/>
              <a:gd name="connsiteX1" fmla="*/ 6160678 w 6160678"/>
              <a:gd name="connsiteY1" fmla="*/ 0 h 6875550"/>
              <a:gd name="connsiteX2" fmla="*/ 3126658 w 6160678"/>
              <a:gd name="connsiteY2" fmla="*/ 6875550 h 6875550"/>
              <a:gd name="connsiteX3" fmla="*/ 0 w 6160678"/>
              <a:gd name="connsiteY3" fmla="*/ 9832 h 6875550"/>
              <a:gd name="connsiteX0" fmla="*/ 0 w 6239336"/>
              <a:gd name="connsiteY0" fmla="*/ 0 h 6875550"/>
              <a:gd name="connsiteX1" fmla="*/ 6239336 w 6239336"/>
              <a:gd name="connsiteY1" fmla="*/ 0 h 6875550"/>
              <a:gd name="connsiteX2" fmla="*/ 3205316 w 6239336"/>
              <a:gd name="connsiteY2" fmla="*/ 6875550 h 6875550"/>
              <a:gd name="connsiteX3" fmla="*/ 0 w 6239336"/>
              <a:gd name="connsiteY3" fmla="*/ 0 h 6875550"/>
              <a:gd name="connsiteX0" fmla="*/ 0 w 6239336"/>
              <a:gd name="connsiteY0" fmla="*/ 0 h 6822998"/>
              <a:gd name="connsiteX1" fmla="*/ 6239336 w 6239336"/>
              <a:gd name="connsiteY1" fmla="*/ 0 h 6822998"/>
              <a:gd name="connsiteX2" fmla="*/ 3226337 w 6239336"/>
              <a:gd name="connsiteY2" fmla="*/ 6822998 h 6822998"/>
              <a:gd name="connsiteX3" fmla="*/ 0 w 6239336"/>
              <a:gd name="connsiteY3" fmla="*/ 0 h 6822998"/>
              <a:gd name="connsiteX0" fmla="*/ 0 w 6144743"/>
              <a:gd name="connsiteY0" fmla="*/ 0 h 6822998"/>
              <a:gd name="connsiteX1" fmla="*/ 6144743 w 6144743"/>
              <a:gd name="connsiteY1" fmla="*/ 10511 h 6822998"/>
              <a:gd name="connsiteX2" fmla="*/ 3226337 w 6144743"/>
              <a:gd name="connsiteY2" fmla="*/ 6822998 h 6822998"/>
              <a:gd name="connsiteX3" fmla="*/ 0 w 6144743"/>
              <a:gd name="connsiteY3" fmla="*/ 0 h 6822998"/>
              <a:gd name="connsiteX0" fmla="*/ 0 w 6134232"/>
              <a:gd name="connsiteY0" fmla="*/ 0 h 6822998"/>
              <a:gd name="connsiteX1" fmla="*/ 6134232 w 6134232"/>
              <a:gd name="connsiteY1" fmla="*/ 10511 h 6822998"/>
              <a:gd name="connsiteX2" fmla="*/ 3226337 w 6134232"/>
              <a:gd name="connsiteY2" fmla="*/ 6822998 h 6822998"/>
              <a:gd name="connsiteX3" fmla="*/ 0 w 6134232"/>
              <a:gd name="connsiteY3" fmla="*/ 0 h 6822998"/>
              <a:gd name="connsiteX0" fmla="*/ 0 w 6134232"/>
              <a:gd name="connsiteY0" fmla="*/ 0 h 6822998"/>
              <a:gd name="connsiteX1" fmla="*/ 6134232 w 6134232"/>
              <a:gd name="connsiteY1" fmla="*/ 10511 h 6822998"/>
              <a:gd name="connsiteX2" fmla="*/ 3226337 w 6134232"/>
              <a:gd name="connsiteY2" fmla="*/ 6822998 h 6822998"/>
              <a:gd name="connsiteX3" fmla="*/ 0 w 6134232"/>
              <a:gd name="connsiteY3" fmla="*/ 0 h 6822998"/>
              <a:gd name="connsiteX0" fmla="*/ 0 w 6134232"/>
              <a:gd name="connsiteY0" fmla="*/ 0 h 6822998"/>
              <a:gd name="connsiteX1" fmla="*/ 6134232 w 6134232"/>
              <a:gd name="connsiteY1" fmla="*/ 10511 h 6822998"/>
              <a:gd name="connsiteX2" fmla="*/ 3226337 w 6134232"/>
              <a:gd name="connsiteY2" fmla="*/ 6822998 h 6822998"/>
              <a:gd name="connsiteX3" fmla="*/ 0 w 6134232"/>
              <a:gd name="connsiteY3" fmla="*/ 0 h 6822998"/>
              <a:gd name="connsiteX0" fmla="*/ 0 w 6144742"/>
              <a:gd name="connsiteY0" fmla="*/ 0 h 6833423"/>
              <a:gd name="connsiteX1" fmla="*/ 6144742 w 6144742"/>
              <a:gd name="connsiteY1" fmla="*/ 20936 h 6833423"/>
              <a:gd name="connsiteX2" fmla="*/ 3236847 w 6144742"/>
              <a:gd name="connsiteY2" fmla="*/ 6833423 h 6833423"/>
              <a:gd name="connsiteX3" fmla="*/ 0 w 6144742"/>
              <a:gd name="connsiteY3" fmla="*/ 0 h 6833423"/>
              <a:gd name="connsiteX0" fmla="*/ 0 w 6144742"/>
              <a:gd name="connsiteY0" fmla="*/ 0 h 6833423"/>
              <a:gd name="connsiteX1" fmla="*/ 6144742 w 6144742"/>
              <a:gd name="connsiteY1" fmla="*/ 20936 h 6833423"/>
              <a:gd name="connsiteX2" fmla="*/ 3236847 w 6144742"/>
              <a:gd name="connsiteY2" fmla="*/ 6833423 h 6833423"/>
              <a:gd name="connsiteX3" fmla="*/ 0 w 6144742"/>
              <a:gd name="connsiteY3" fmla="*/ 0 h 6833423"/>
              <a:gd name="connsiteX0" fmla="*/ 0 w 6144742"/>
              <a:gd name="connsiteY0" fmla="*/ 0 h 6833423"/>
              <a:gd name="connsiteX1" fmla="*/ 6144742 w 6144742"/>
              <a:gd name="connsiteY1" fmla="*/ 20936 h 6833423"/>
              <a:gd name="connsiteX2" fmla="*/ 3236847 w 6144742"/>
              <a:gd name="connsiteY2" fmla="*/ 6833423 h 6833423"/>
              <a:gd name="connsiteX3" fmla="*/ 0 w 6144742"/>
              <a:gd name="connsiteY3" fmla="*/ 0 h 6833423"/>
              <a:gd name="connsiteX0" fmla="*/ 0 w 6144742"/>
              <a:gd name="connsiteY0" fmla="*/ 0 h 6843848"/>
              <a:gd name="connsiteX1" fmla="*/ 6144742 w 6144742"/>
              <a:gd name="connsiteY1" fmla="*/ 31361 h 6843848"/>
              <a:gd name="connsiteX2" fmla="*/ 3236847 w 6144742"/>
              <a:gd name="connsiteY2" fmla="*/ 6843848 h 6843848"/>
              <a:gd name="connsiteX3" fmla="*/ 0 w 6144742"/>
              <a:gd name="connsiteY3" fmla="*/ 0 h 6843848"/>
              <a:gd name="connsiteX0" fmla="*/ 0 w 6165763"/>
              <a:gd name="connsiteY0" fmla="*/ 0 h 6843848"/>
              <a:gd name="connsiteX1" fmla="*/ 6165763 w 6165763"/>
              <a:gd name="connsiteY1" fmla="*/ 31361 h 6843848"/>
              <a:gd name="connsiteX2" fmla="*/ 3257868 w 6165763"/>
              <a:gd name="connsiteY2" fmla="*/ 6843848 h 6843848"/>
              <a:gd name="connsiteX3" fmla="*/ 0 w 6165763"/>
              <a:gd name="connsiteY3" fmla="*/ 0 h 6843848"/>
              <a:gd name="connsiteX0" fmla="*/ 0 w 6165763"/>
              <a:gd name="connsiteY0" fmla="*/ 0 h 6843848"/>
              <a:gd name="connsiteX1" fmla="*/ 6165763 w 6165763"/>
              <a:gd name="connsiteY1" fmla="*/ 31361 h 6843848"/>
              <a:gd name="connsiteX2" fmla="*/ 3257868 w 6165763"/>
              <a:gd name="connsiteY2" fmla="*/ 6843848 h 6843848"/>
              <a:gd name="connsiteX3" fmla="*/ 0 w 6165763"/>
              <a:gd name="connsiteY3" fmla="*/ 0 h 6843848"/>
              <a:gd name="connsiteX0" fmla="*/ 0 w 6165763"/>
              <a:gd name="connsiteY0" fmla="*/ 0 h 6843848"/>
              <a:gd name="connsiteX1" fmla="*/ 6165763 w 6165763"/>
              <a:gd name="connsiteY1" fmla="*/ 31361 h 6843848"/>
              <a:gd name="connsiteX2" fmla="*/ 3257868 w 6165763"/>
              <a:gd name="connsiteY2" fmla="*/ 6843848 h 6843848"/>
              <a:gd name="connsiteX3" fmla="*/ 0 w 6165763"/>
              <a:gd name="connsiteY3" fmla="*/ 0 h 6843848"/>
              <a:gd name="connsiteX0" fmla="*/ 0 w 6165763"/>
              <a:gd name="connsiteY0" fmla="*/ 0 h 6843848"/>
              <a:gd name="connsiteX1" fmla="*/ 6165763 w 6165763"/>
              <a:gd name="connsiteY1" fmla="*/ 31361 h 6843848"/>
              <a:gd name="connsiteX2" fmla="*/ 3257868 w 6165763"/>
              <a:gd name="connsiteY2" fmla="*/ 6843848 h 6843848"/>
              <a:gd name="connsiteX3" fmla="*/ 0 w 6165763"/>
              <a:gd name="connsiteY3" fmla="*/ 0 h 6843848"/>
              <a:gd name="connsiteX0" fmla="*/ 0 w 6165763"/>
              <a:gd name="connsiteY0" fmla="*/ 0 h 6833423"/>
              <a:gd name="connsiteX1" fmla="*/ 6165763 w 6165763"/>
              <a:gd name="connsiteY1" fmla="*/ 20936 h 6833423"/>
              <a:gd name="connsiteX2" fmla="*/ 3257868 w 6165763"/>
              <a:gd name="connsiteY2" fmla="*/ 6833423 h 6833423"/>
              <a:gd name="connsiteX3" fmla="*/ 0 w 6165763"/>
              <a:gd name="connsiteY3" fmla="*/ 0 h 6833423"/>
              <a:gd name="connsiteX0" fmla="*/ 0 w 6165763"/>
              <a:gd name="connsiteY0" fmla="*/ 0 h 6833423"/>
              <a:gd name="connsiteX1" fmla="*/ 6165763 w 6165763"/>
              <a:gd name="connsiteY1" fmla="*/ 20936 h 6833423"/>
              <a:gd name="connsiteX2" fmla="*/ 3257868 w 6165763"/>
              <a:gd name="connsiteY2" fmla="*/ 6833423 h 6833423"/>
              <a:gd name="connsiteX3" fmla="*/ 0 w 6165763"/>
              <a:gd name="connsiteY3" fmla="*/ 0 h 6833423"/>
            </a:gdLst>
            <a:ahLst/>
            <a:cxnLst>
              <a:cxn ang="0">
                <a:pos x="connsiteX0" y="connsiteY0"/>
              </a:cxn>
              <a:cxn ang="0">
                <a:pos x="connsiteX1" y="connsiteY1"/>
              </a:cxn>
              <a:cxn ang="0">
                <a:pos x="connsiteX2" y="connsiteY2"/>
              </a:cxn>
              <a:cxn ang="0">
                <a:pos x="connsiteX3" y="connsiteY3"/>
              </a:cxn>
            </a:cxnLst>
            <a:rect l="l" t="t" r="r" b="b"/>
            <a:pathLst>
              <a:path w="6165763" h="6833423">
                <a:moveTo>
                  <a:pt x="0" y="0"/>
                </a:moveTo>
                <a:cubicBezTo>
                  <a:pt x="6133268" y="34781"/>
                  <a:pt x="64026" y="17432"/>
                  <a:pt x="6165763" y="20936"/>
                </a:cubicBezTo>
                <a:cubicBezTo>
                  <a:pt x="3231031" y="6832234"/>
                  <a:pt x="4227166" y="4562594"/>
                  <a:pt x="3257868" y="6833423"/>
                </a:cubicBezTo>
                <a:cubicBezTo>
                  <a:pt x="-7232" y="-52592"/>
                  <a:pt x="3223060" y="6833887"/>
                  <a:pt x="0" y="0"/>
                </a:cubicBezTo>
                <a:close/>
              </a:path>
            </a:pathLst>
          </a:custGeom>
        </p:spPr>
        <p:txBody>
          <a:bodyPr/>
          <a:lstStyle/>
          <a:p>
            <a:r>
              <a:rPr lang="fi-FI"/>
              <a:t>Lisää kuva napsauttamalla kuvaketta</a:t>
            </a:r>
            <a:endParaRPr lang="fi-FI" dirty="0"/>
          </a:p>
        </p:txBody>
      </p:sp>
      <p:pic>
        <p:nvPicPr>
          <p:cNvPr id="32" name="Kuva 31" descr="Kuva, joka sisältää kohteen ruoka&#10;&#10;Kuvaus luotu automaattisesti">
            <a:extLst>
              <a:ext uri="{FF2B5EF4-FFF2-40B4-BE49-F238E27FC236}">
                <a16:creationId xmlns:a16="http://schemas.microsoft.com/office/drawing/2014/main" id="{F10F8FD9-FBD8-45AD-B887-4952DBBA1A86}"/>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094600" y="5868000"/>
            <a:ext cx="3077488" cy="396000"/>
          </a:xfrm>
          <a:prstGeom prst="rect">
            <a:avLst/>
          </a:prstGeom>
        </p:spPr>
      </p:pic>
      <p:sp>
        <p:nvSpPr>
          <p:cNvPr id="29" name="Vapaamuotoinen: Muoto 28">
            <a:extLst>
              <a:ext uri="{FF2B5EF4-FFF2-40B4-BE49-F238E27FC236}">
                <a16:creationId xmlns:a16="http://schemas.microsoft.com/office/drawing/2014/main" id="{51083D49-F859-450D-987B-994D76BDF8A0}"/>
              </a:ext>
            </a:extLst>
          </p:cNvPr>
          <p:cNvSpPr/>
          <p:nvPr userDrawn="1"/>
        </p:nvSpPr>
        <p:spPr>
          <a:xfrm>
            <a:off x="351" y="0"/>
            <a:ext cx="3247345" cy="6875550"/>
          </a:xfrm>
          <a:custGeom>
            <a:avLst/>
            <a:gdLst>
              <a:gd name="connsiteX0" fmla="*/ 0 w 3087330"/>
              <a:gd name="connsiteY0" fmla="*/ 0 h 6921910"/>
              <a:gd name="connsiteX1" fmla="*/ 3087330 w 3087330"/>
              <a:gd name="connsiteY1" fmla="*/ 6921910 h 6921910"/>
              <a:gd name="connsiteX2" fmla="*/ 9833 w 3087330"/>
              <a:gd name="connsiteY2" fmla="*/ 6921910 h 6921910"/>
              <a:gd name="connsiteX3" fmla="*/ 0 w 3087330"/>
              <a:gd name="connsiteY3" fmla="*/ 0 h 6921910"/>
              <a:gd name="connsiteX0" fmla="*/ 1091 w 3088421"/>
              <a:gd name="connsiteY0" fmla="*/ 0 h 6921910"/>
              <a:gd name="connsiteX1" fmla="*/ 3088421 w 3088421"/>
              <a:gd name="connsiteY1" fmla="*/ 6921910 h 6921910"/>
              <a:gd name="connsiteX2" fmla="*/ 927 w 3088421"/>
              <a:gd name="connsiteY2" fmla="*/ 6921910 h 6921910"/>
              <a:gd name="connsiteX3" fmla="*/ 1091 w 3088421"/>
              <a:gd name="connsiteY3" fmla="*/ 0 h 6921910"/>
            </a:gdLst>
            <a:ahLst/>
            <a:cxnLst>
              <a:cxn ang="0">
                <a:pos x="connsiteX0" y="connsiteY0"/>
              </a:cxn>
              <a:cxn ang="0">
                <a:pos x="connsiteX1" y="connsiteY1"/>
              </a:cxn>
              <a:cxn ang="0">
                <a:pos x="connsiteX2" y="connsiteY2"/>
              </a:cxn>
              <a:cxn ang="0">
                <a:pos x="connsiteX3" y="connsiteY3"/>
              </a:cxn>
            </a:cxnLst>
            <a:rect l="l" t="t" r="r" b="b"/>
            <a:pathLst>
              <a:path w="3088421" h="6921910">
                <a:moveTo>
                  <a:pt x="1091" y="0"/>
                </a:moveTo>
                <a:lnTo>
                  <a:pt x="3088421" y="6921910"/>
                </a:lnTo>
                <a:lnTo>
                  <a:pt x="927" y="6921910"/>
                </a:lnTo>
                <a:cubicBezTo>
                  <a:pt x="-2351" y="4614607"/>
                  <a:pt x="4369" y="2307303"/>
                  <a:pt x="1091"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Tree>
    <p:extLst>
      <p:ext uri="{BB962C8B-B14F-4D97-AF65-F5344CB8AC3E}">
        <p14:creationId xmlns:p14="http://schemas.microsoft.com/office/powerpoint/2010/main" val="3861275250"/>
      </p:ext>
    </p:extLst>
  </p:cSld>
  <p:clrMapOvr>
    <a:masterClrMapping/>
  </p:clrMapOvr>
  <p:extLst>
    <p:ext uri="{DCECCB84-F9BA-43D5-87BE-67443E8EF086}">
      <p15:sldGuideLst xmlns:p15="http://schemas.microsoft.com/office/powerpoint/2012/main">
        <p15:guide id="1" pos="1912" userDrawn="1">
          <p15:clr>
            <a:srgbClr val="FBAE40"/>
          </p15:clr>
        </p15:guide>
        <p15:guide id="2" pos="3863"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tsikko ja taulukko">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FE627552-377E-49B0-B131-6F4FC7EB7962}"/>
              </a:ext>
            </a:extLst>
          </p:cNvPr>
          <p:cNvSpPr>
            <a:spLocks noGrp="1"/>
          </p:cNvSpPr>
          <p:nvPr>
            <p:ph type="title"/>
          </p:nvPr>
        </p:nvSpPr>
        <p:spPr>
          <a:xfrm>
            <a:off x="539999" y="360000"/>
            <a:ext cx="11136063" cy="972000"/>
          </a:xfrm>
        </p:spPr>
        <p:txBody>
          <a:bodyPr/>
          <a:lstStyle/>
          <a:p>
            <a:r>
              <a:rPr lang="fi-FI"/>
              <a:t>Muokkaa perustyyl. napsautt.</a:t>
            </a:r>
          </a:p>
        </p:txBody>
      </p:sp>
      <p:sp>
        <p:nvSpPr>
          <p:cNvPr id="7" name="Taulukon paikkamerkki 6">
            <a:extLst>
              <a:ext uri="{FF2B5EF4-FFF2-40B4-BE49-F238E27FC236}">
                <a16:creationId xmlns:a16="http://schemas.microsoft.com/office/drawing/2014/main" id="{C60C22F3-4290-4261-89CE-2FA2FDF38B75}"/>
              </a:ext>
            </a:extLst>
          </p:cNvPr>
          <p:cNvSpPr>
            <a:spLocks noGrp="1"/>
          </p:cNvSpPr>
          <p:nvPr>
            <p:ph type="tbl" sz="quarter" idx="13"/>
          </p:nvPr>
        </p:nvSpPr>
        <p:spPr>
          <a:xfrm>
            <a:off x="540000" y="1692000"/>
            <a:ext cx="11139488" cy="4348162"/>
          </a:xfrm>
        </p:spPr>
        <p:txBody>
          <a:bodyPr/>
          <a:lstStyle/>
          <a:p>
            <a:r>
              <a:rPr lang="fi-FI"/>
              <a:t>Lisää taulukko napsauttamalla kuvaketta</a:t>
            </a:r>
          </a:p>
        </p:txBody>
      </p:sp>
      <p:sp>
        <p:nvSpPr>
          <p:cNvPr id="3" name="Päivämäärän paikkamerkki 2">
            <a:extLst>
              <a:ext uri="{FF2B5EF4-FFF2-40B4-BE49-F238E27FC236}">
                <a16:creationId xmlns:a16="http://schemas.microsoft.com/office/drawing/2014/main" id="{3948B415-BC08-47E4-A2D2-3AD6E767D5CF}"/>
              </a:ext>
            </a:extLst>
          </p:cNvPr>
          <p:cNvSpPr>
            <a:spLocks noGrp="1"/>
          </p:cNvSpPr>
          <p:nvPr>
            <p:ph type="dt" sz="half" idx="14"/>
          </p:nvPr>
        </p:nvSpPr>
        <p:spPr/>
        <p:txBody>
          <a:bodyPr/>
          <a:lstStyle/>
          <a:p>
            <a:fld id="{94F26074-FEAA-4C33-9FFC-10C0CA04F23E}" type="datetime1">
              <a:rPr lang="fi-FI" smtClean="0"/>
              <a:t>26.6.2023</a:t>
            </a:fld>
            <a:endParaRPr lang="fi-FI"/>
          </a:p>
        </p:txBody>
      </p:sp>
      <p:sp>
        <p:nvSpPr>
          <p:cNvPr id="4" name="Alatunnisteen paikkamerkki 3">
            <a:extLst>
              <a:ext uri="{FF2B5EF4-FFF2-40B4-BE49-F238E27FC236}">
                <a16:creationId xmlns:a16="http://schemas.microsoft.com/office/drawing/2014/main" id="{3DD63B02-8EF3-49E9-B321-C3284976226F}"/>
              </a:ext>
            </a:extLst>
          </p:cNvPr>
          <p:cNvSpPr>
            <a:spLocks noGrp="1"/>
          </p:cNvSpPr>
          <p:nvPr>
            <p:ph type="ftr" sz="quarter" idx="15"/>
          </p:nvPr>
        </p:nvSpPr>
        <p:spPr/>
        <p:txBody>
          <a:bodyPr/>
          <a:lstStyle/>
          <a:p>
            <a:endParaRPr lang="fi-FI" dirty="0"/>
          </a:p>
        </p:txBody>
      </p:sp>
      <p:sp>
        <p:nvSpPr>
          <p:cNvPr id="5" name="Dian numeron paikkamerkki 4">
            <a:extLst>
              <a:ext uri="{FF2B5EF4-FFF2-40B4-BE49-F238E27FC236}">
                <a16:creationId xmlns:a16="http://schemas.microsoft.com/office/drawing/2014/main" id="{7230D75C-206A-4B0F-AF45-0C24F7733DBE}"/>
              </a:ext>
            </a:extLst>
          </p:cNvPr>
          <p:cNvSpPr>
            <a:spLocks noGrp="1"/>
          </p:cNvSpPr>
          <p:nvPr>
            <p:ph type="sldNum" sz="quarter" idx="16"/>
          </p:nvPr>
        </p:nvSpPr>
        <p:spPr/>
        <p:txBody>
          <a:bodyPr/>
          <a:lstStyle/>
          <a:p>
            <a:fld id="{628F3778-6073-48C0-8E18-EFC09B82139A}" type="slidenum">
              <a:rPr lang="fi-FI" smtClean="0"/>
              <a:pPr/>
              <a:t>‹#›</a:t>
            </a:fld>
            <a:endParaRPr lang="fi-FI"/>
          </a:p>
        </p:txBody>
      </p:sp>
    </p:spTree>
    <p:extLst>
      <p:ext uri="{BB962C8B-B14F-4D97-AF65-F5344CB8AC3E}">
        <p14:creationId xmlns:p14="http://schemas.microsoft.com/office/powerpoint/2010/main" val="359656325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Vain otsikko">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FE627552-377E-49B0-B131-6F4FC7EB7962}"/>
              </a:ext>
            </a:extLst>
          </p:cNvPr>
          <p:cNvSpPr>
            <a:spLocks noGrp="1"/>
          </p:cNvSpPr>
          <p:nvPr>
            <p:ph type="title"/>
          </p:nvPr>
        </p:nvSpPr>
        <p:spPr/>
        <p:txBody>
          <a:bodyPr/>
          <a:lstStyle/>
          <a:p>
            <a:r>
              <a:rPr lang="fi-FI"/>
              <a:t>Muokkaa perustyyl. napsautt.</a:t>
            </a:r>
          </a:p>
        </p:txBody>
      </p:sp>
      <p:sp>
        <p:nvSpPr>
          <p:cNvPr id="3" name="Päivämäärän paikkamerkki 2">
            <a:extLst>
              <a:ext uri="{FF2B5EF4-FFF2-40B4-BE49-F238E27FC236}">
                <a16:creationId xmlns:a16="http://schemas.microsoft.com/office/drawing/2014/main" id="{B691E009-FB21-4EC3-B434-FC9E91D15B25}"/>
              </a:ext>
            </a:extLst>
          </p:cNvPr>
          <p:cNvSpPr>
            <a:spLocks noGrp="1"/>
          </p:cNvSpPr>
          <p:nvPr>
            <p:ph type="dt" sz="half" idx="10"/>
          </p:nvPr>
        </p:nvSpPr>
        <p:spPr/>
        <p:txBody>
          <a:bodyPr/>
          <a:lstStyle/>
          <a:p>
            <a:fld id="{306D4DEA-B3AA-4A9D-BB9F-74CEE055DC25}" type="datetime1">
              <a:rPr lang="fi-FI" smtClean="0"/>
              <a:t>26.6.2023</a:t>
            </a:fld>
            <a:endParaRPr lang="fi-FI"/>
          </a:p>
        </p:txBody>
      </p:sp>
      <p:sp>
        <p:nvSpPr>
          <p:cNvPr id="4" name="Alatunnisteen paikkamerkki 3">
            <a:extLst>
              <a:ext uri="{FF2B5EF4-FFF2-40B4-BE49-F238E27FC236}">
                <a16:creationId xmlns:a16="http://schemas.microsoft.com/office/drawing/2014/main" id="{94ECB10A-B4C0-4A96-853C-8D0423598D6E}"/>
              </a:ext>
            </a:extLst>
          </p:cNvPr>
          <p:cNvSpPr>
            <a:spLocks noGrp="1"/>
          </p:cNvSpPr>
          <p:nvPr>
            <p:ph type="ftr" sz="quarter" idx="11"/>
          </p:nvPr>
        </p:nvSpPr>
        <p:spPr/>
        <p:txBody>
          <a:bodyPr/>
          <a:lstStyle/>
          <a:p>
            <a:endParaRPr lang="fi-FI" dirty="0"/>
          </a:p>
        </p:txBody>
      </p:sp>
      <p:sp>
        <p:nvSpPr>
          <p:cNvPr id="5" name="Dian numeron paikkamerkki 4">
            <a:extLst>
              <a:ext uri="{FF2B5EF4-FFF2-40B4-BE49-F238E27FC236}">
                <a16:creationId xmlns:a16="http://schemas.microsoft.com/office/drawing/2014/main" id="{071EEB16-4FD9-4410-A581-2C4D75B9B049}"/>
              </a:ext>
            </a:extLst>
          </p:cNvPr>
          <p:cNvSpPr>
            <a:spLocks noGrp="1"/>
          </p:cNvSpPr>
          <p:nvPr>
            <p:ph type="sldNum" sz="quarter" idx="12"/>
          </p:nvPr>
        </p:nvSpPr>
        <p:spPr/>
        <p:txBody>
          <a:bodyPr/>
          <a:lstStyle/>
          <a:p>
            <a:fld id="{628F3778-6073-48C0-8E18-EFC09B82139A}" type="slidenum">
              <a:rPr lang="fi-FI" smtClean="0"/>
              <a:pPr/>
              <a:t>‹#›</a:t>
            </a:fld>
            <a:endParaRPr lang="fi-FI"/>
          </a:p>
        </p:txBody>
      </p:sp>
    </p:spTree>
    <p:extLst>
      <p:ext uri="{BB962C8B-B14F-4D97-AF65-F5344CB8AC3E}">
        <p14:creationId xmlns:p14="http://schemas.microsoft.com/office/powerpoint/2010/main" val="87092543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iitos - suomi">
    <p:spTree>
      <p:nvGrpSpPr>
        <p:cNvPr id="1" name=""/>
        <p:cNvGrpSpPr/>
        <p:nvPr/>
      </p:nvGrpSpPr>
      <p:grpSpPr>
        <a:xfrm>
          <a:off x="0" y="0"/>
          <a:ext cx="0" cy="0"/>
          <a:chOff x="0" y="0"/>
          <a:chExt cx="0" cy="0"/>
        </a:xfrm>
      </p:grpSpPr>
      <p:graphicFrame>
        <p:nvGraphicFramePr>
          <p:cNvPr id="4" name="Objekti 3" hidden="1">
            <a:extLst>
              <a:ext uri="{FF2B5EF4-FFF2-40B4-BE49-F238E27FC236}">
                <a16:creationId xmlns:a16="http://schemas.microsoft.com/office/drawing/2014/main" id="{836EF2D1-E275-4023-8117-085736960FBF}"/>
              </a:ext>
            </a:extLst>
          </p:cNvPr>
          <p:cNvGraphicFramePr>
            <a:graphicFrameLocks noChangeAspect="1"/>
          </p:cNvGraphicFramePr>
          <p:nvPr userDrawn="1">
            <p:custDataLst>
              <p:tags r:id="rId2"/>
            </p:custDataLst>
            <p:extLst>
              <p:ext uri="{D42A27DB-BD31-4B8C-83A1-F6EECF244321}">
                <p14:modId xmlns:p14="http://schemas.microsoft.com/office/powerpoint/2010/main" val="6935859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38" name="think-cell Slide" r:id="rId5" imgW="395" imgH="396" progId="TCLayout.ActiveDocument.1">
                  <p:embed/>
                </p:oleObj>
              </mc:Choice>
              <mc:Fallback>
                <p:oleObj name="think-cell Slide" r:id="rId5" imgW="395" imgH="396" progId="TCLayout.ActiveDocument.1">
                  <p:embed/>
                  <p:pic>
                    <p:nvPicPr>
                      <p:cNvPr id="4" name="Objekti 3" hidden="1">
                        <a:extLst>
                          <a:ext uri="{FF2B5EF4-FFF2-40B4-BE49-F238E27FC236}">
                            <a16:creationId xmlns:a16="http://schemas.microsoft.com/office/drawing/2014/main" id="{836EF2D1-E275-4023-8117-085736960FB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Suorakulmio 2" hidden="1">
            <a:extLst>
              <a:ext uri="{FF2B5EF4-FFF2-40B4-BE49-F238E27FC236}">
                <a16:creationId xmlns:a16="http://schemas.microsoft.com/office/drawing/2014/main" id="{AFE3DA9C-78EC-44F6-AD88-1629A71132B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i-FI" sz="4200" b="1" i="0" baseline="0" dirty="0">
              <a:latin typeface="Arial" panose="020B0604020202020204" pitchFamily="34" charset="0"/>
              <a:ea typeface="+mj-ea"/>
              <a:cs typeface="+mj-cs"/>
              <a:sym typeface="Arial" panose="020B0604020202020204" pitchFamily="34" charset="0"/>
            </a:endParaRPr>
          </a:p>
        </p:txBody>
      </p:sp>
      <p:sp>
        <p:nvSpPr>
          <p:cNvPr id="28" name="Kuvan paikkamerkki 27">
            <a:extLst>
              <a:ext uri="{FF2B5EF4-FFF2-40B4-BE49-F238E27FC236}">
                <a16:creationId xmlns:a16="http://schemas.microsoft.com/office/drawing/2014/main" id="{44F119D4-57A0-48F9-8B7A-72F510A26ECF}"/>
              </a:ext>
            </a:extLst>
          </p:cNvPr>
          <p:cNvSpPr>
            <a:spLocks noGrp="1"/>
          </p:cNvSpPr>
          <p:nvPr>
            <p:ph type="pic" sz="quarter" idx="10"/>
          </p:nvPr>
        </p:nvSpPr>
        <p:spPr>
          <a:xfrm>
            <a:off x="-21022" y="-21020"/>
            <a:ext cx="6165763" cy="6888830"/>
          </a:xfrm>
          <a:custGeom>
            <a:avLst/>
            <a:gdLst>
              <a:gd name="connsiteX0" fmla="*/ 0 w 6072188"/>
              <a:gd name="connsiteY0" fmla="*/ 0 h 6865717"/>
              <a:gd name="connsiteX1" fmla="*/ 6072188 w 6072188"/>
              <a:gd name="connsiteY1" fmla="*/ 0 h 6865717"/>
              <a:gd name="connsiteX2" fmla="*/ 6072188 w 6072188"/>
              <a:gd name="connsiteY2" fmla="*/ 6865717 h 6865717"/>
              <a:gd name="connsiteX3" fmla="*/ 0 w 6072188"/>
              <a:gd name="connsiteY3" fmla="*/ 6865717 h 6865717"/>
              <a:gd name="connsiteX4" fmla="*/ 0 w 6072188"/>
              <a:gd name="connsiteY4" fmla="*/ 0 h 6865717"/>
              <a:gd name="connsiteX0" fmla="*/ 0 w 6072188"/>
              <a:gd name="connsiteY0" fmla="*/ 0 h 6885382"/>
              <a:gd name="connsiteX1" fmla="*/ 6072188 w 6072188"/>
              <a:gd name="connsiteY1" fmla="*/ 0 h 6885382"/>
              <a:gd name="connsiteX2" fmla="*/ 6072188 w 6072188"/>
              <a:gd name="connsiteY2" fmla="*/ 6865717 h 6885382"/>
              <a:gd name="connsiteX3" fmla="*/ 3077497 w 6072188"/>
              <a:gd name="connsiteY3" fmla="*/ 6885382 h 6885382"/>
              <a:gd name="connsiteX4" fmla="*/ 0 w 6072188"/>
              <a:gd name="connsiteY4" fmla="*/ 0 h 6885382"/>
              <a:gd name="connsiteX0" fmla="*/ 0 w 6072188"/>
              <a:gd name="connsiteY0" fmla="*/ 0 h 6885382"/>
              <a:gd name="connsiteX1" fmla="*/ 6072188 w 6072188"/>
              <a:gd name="connsiteY1" fmla="*/ 0 h 6885382"/>
              <a:gd name="connsiteX2" fmla="*/ 3077497 w 6072188"/>
              <a:gd name="connsiteY2" fmla="*/ 6885382 h 6885382"/>
              <a:gd name="connsiteX3" fmla="*/ 0 w 6072188"/>
              <a:gd name="connsiteY3" fmla="*/ 0 h 6885382"/>
              <a:gd name="connsiteX0" fmla="*/ 0 w 6160678"/>
              <a:gd name="connsiteY0" fmla="*/ 9832 h 6895214"/>
              <a:gd name="connsiteX1" fmla="*/ 6160678 w 6160678"/>
              <a:gd name="connsiteY1" fmla="*/ 0 h 6895214"/>
              <a:gd name="connsiteX2" fmla="*/ 3077497 w 6160678"/>
              <a:gd name="connsiteY2" fmla="*/ 6895214 h 6895214"/>
              <a:gd name="connsiteX3" fmla="*/ 0 w 6160678"/>
              <a:gd name="connsiteY3" fmla="*/ 9832 h 6895214"/>
              <a:gd name="connsiteX0" fmla="*/ 0 w 6160678"/>
              <a:gd name="connsiteY0" fmla="*/ 9832 h 6875550"/>
              <a:gd name="connsiteX1" fmla="*/ 6160678 w 6160678"/>
              <a:gd name="connsiteY1" fmla="*/ 0 h 6875550"/>
              <a:gd name="connsiteX2" fmla="*/ 3126658 w 6160678"/>
              <a:gd name="connsiteY2" fmla="*/ 6875550 h 6875550"/>
              <a:gd name="connsiteX3" fmla="*/ 0 w 6160678"/>
              <a:gd name="connsiteY3" fmla="*/ 9832 h 6875550"/>
              <a:gd name="connsiteX0" fmla="*/ 0 w 6239336"/>
              <a:gd name="connsiteY0" fmla="*/ 0 h 6875550"/>
              <a:gd name="connsiteX1" fmla="*/ 6239336 w 6239336"/>
              <a:gd name="connsiteY1" fmla="*/ 0 h 6875550"/>
              <a:gd name="connsiteX2" fmla="*/ 3205316 w 6239336"/>
              <a:gd name="connsiteY2" fmla="*/ 6875550 h 6875550"/>
              <a:gd name="connsiteX3" fmla="*/ 0 w 6239336"/>
              <a:gd name="connsiteY3" fmla="*/ 0 h 6875550"/>
              <a:gd name="connsiteX0" fmla="*/ 0 w 6239336"/>
              <a:gd name="connsiteY0" fmla="*/ 0 h 6822998"/>
              <a:gd name="connsiteX1" fmla="*/ 6239336 w 6239336"/>
              <a:gd name="connsiteY1" fmla="*/ 0 h 6822998"/>
              <a:gd name="connsiteX2" fmla="*/ 3226337 w 6239336"/>
              <a:gd name="connsiteY2" fmla="*/ 6822998 h 6822998"/>
              <a:gd name="connsiteX3" fmla="*/ 0 w 6239336"/>
              <a:gd name="connsiteY3" fmla="*/ 0 h 6822998"/>
              <a:gd name="connsiteX0" fmla="*/ 0 w 6144743"/>
              <a:gd name="connsiteY0" fmla="*/ 0 h 6822998"/>
              <a:gd name="connsiteX1" fmla="*/ 6144743 w 6144743"/>
              <a:gd name="connsiteY1" fmla="*/ 10511 h 6822998"/>
              <a:gd name="connsiteX2" fmla="*/ 3226337 w 6144743"/>
              <a:gd name="connsiteY2" fmla="*/ 6822998 h 6822998"/>
              <a:gd name="connsiteX3" fmla="*/ 0 w 6144743"/>
              <a:gd name="connsiteY3" fmla="*/ 0 h 6822998"/>
              <a:gd name="connsiteX0" fmla="*/ 0 w 6134232"/>
              <a:gd name="connsiteY0" fmla="*/ 0 h 6822998"/>
              <a:gd name="connsiteX1" fmla="*/ 6134232 w 6134232"/>
              <a:gd name="connsiteY1" fmla="*/ 10511 h 6822998"/>
              <a:gd name="connsiteX2" fmla="*/ 3226337 w 6134232"/>
              <a:gd name="connsiteY2" fmla="*/ 6822998 h 6822998"/>
              <a:gd name="connsiteX3" fmla="*/ 0 w 6134232"/>
              <a:gd name="connsiteY3" fmla="*/ 0 h 6822998"/>
              <a:gd name="connsiteX0" fmla="*/ 0 w 6134232"/>
              <a:gd name="connsiteY0" fmla="*/ 0 h 6822998"/>
              <a:gd name="connsiteX1" fmla="*/ 6134232 w 6134232"/>
              <a:gd name="connsiteY1" fmla="*/ 10511 h 6822998"/>
              <a:gd name="connsiteX2" fmla="*/ 3226337 w 6134232"/>
              <a:gd name="connsiteY2" fmla="*/ 6822998 h 6822998"/>
              <a:gd name="connsiteX3" fmla="*/ 0 w 6134232"/>
              <a:gd name="connsiteY3" fmla="*/ 0 h 6822998"/>
              <a:gd name="connsiteX0" fmla="*/ 0 w 6134232"/>
              <a:gd name="connsiteY0" fmla="*/ 0 h 6822998"/>
              <a:gd name="connsiteX1" fmla="*/ 6134232 w 6134232"/>
              <a:gd name="connsiteY1" fmla="*/ 10511 h 6822998"/>
              <a:gd name="connsiteX2" fmla="*/ 3226337 w 6134232"/>
              <a:gd name="connsiteY2" fmla="*/ 6822998 h 6822998"/>
              <a:gd name="connsiteX3" fmla="*/ 0 w 6134232"/>
              <a:gd name="connsiteY3" fmla="*/ 0 h 6822998"/>
              <a:gd name="connsiteX0" fmla="*/ 0 w 6144742"/>
              <a:gd name="connsiteY0" fmla="*/ 0 h 6833423"/>
              <a:gd name="connsiteX1" fmla="*/ 6144742 w 6144742"/>
              <a:gd name="connsiteY1" fmla="*/ 20936 h 6833423"/>
              <a:gd name="connsiteX2" fmla="*/ 3236847 w 6144742"/>
              <a:gd name="connsiteY2" fmla="*/ 6833423 h 6833423"/>
              <a:gd name="connsiteX3" fmla="*/ 0 w 6144742"/>
              <a:gd name="connsiteY3" fmla="*/ 0 h 6833423"/>
              <a:gd name="connsiteX0" fmla="*/ 0 w 6144742"/>
              <a:gd name="connsiteY0" fmla="*/ 0 h 6833423"/>
              <a:gd name="connsiteX1" fmla="*/ 6144742 w 6144742"/>
              <a:gd name="connsiteY1" fmla="*/ 20936 h 6833423"/>
              <a:gd name="connsiteX2" fmla="*/ 3236847 w 6144742"/>
              <a:gd name="connsiteY2" fmla="*/ 6833423 h 6833423"/>
              <a:gd name="connsiteX3" fmla="*/ 0 w 6144742"/>
              <a:gd name="connsiteY3" fmla="*/ 0 h 6833423"/>
              <a:gd name="connsiteX0" fmla="*/ 0 w 6144742"/>
              <a:gd name="connsiteY0" fmla="*/ 0 h 6833423"/>
              <a:gd name="connsiteX1" fmla="*/ 6144742 w 6144742"/>
              <a:gd name="connsiteY1" fmla="*/ 20936 h 6833423"/>
              <a:gd name="connsiteX2" fmla="*/ 3236847 w 6144742"/>
              <a:gd name="connsiteY2" fmla="*/ 6833423 h 6833423"/>
              <a:gd name="connsiteX3" fmla="*/ 0 w 6144742"/>
              <a:gd name="connsiteY3" fmla="*/ 0 h 6833423"/>
              <a:gd name="connsiteX0" fmla="*/ 0 w 6144742"/>
              <a:gd name="connsiteY0" fmla="*/ 0 h 6843848"/>
              <a:gd name="connsiteX1" fmla="*/ 6144742 w 6144742"/>
              <a:gd name="connsiteY1" fmla="*/ 31361 h 6843848"/>
              <a:gd name="connsiteX2" fmla="*/ 3236847 w 6144742"/>
              <a:gd name="connsiteY2" fmla="*/ 6843848 h 6843848"/>
              <a:gd name="connsiteX3" fmla="*/ 0 w 6144742"/>
              <a:gd name="connsiteY3" fmla="*/ 0 h 6843848"/>
              <a:gd name="connsiteX0" fmla="*/ 0 w 6165763"/>
              <a:gd name="connsiteY0" fmla="*/ 0 h 6843848"/>
              <a:gd name="connsiteX1" fmla="*/ 6165763 w 6165763"/>
              <a:gd name="connsiteY1" fmla="*/ 31361 h 6843848"/>
              <a:gd name="connsiteX2" fmla="*/ 3257868 w 6165763"/>
              <a:gd name="connsiteY2" fmla="*/ 6843848 h 6843848"/>
              <a:gd name="connsiteX3" fmla="*/ 0 w 6165763"/>
              <a:gd name="connsiteY3" fmla="*/ 0 h 6843848"/>
              <a:gd name="connsiteX0" fmla="*/ 0 w 6165763"/>
              <a:gd name="connsiteY0" fmla="*/ 0 h 6843848"/>
              <a:gd name="connsiteX1" fmla="*/ 6165763 w 6165763"/>
              <a:gd name="connsiteY1" fmla="*/ 31361 h 6843848"/>
              <a:gd name="connsiteX2" fmla="*/ 3257868 w 6165763"/>
              <a:gd name="connsiteY2" fmla="*/ 6843848 h 6843848"/>
              <a:gd name="connsiteX3" fmla="*/ 0 w 6165763"/>
              <a:gd name="connsiteY3" fmla="*/ 0 h 6843848"/>
              <a:gd name="connsiteX0" fmla="*/ 0 w 6165763"/>
              <a:gd name="connsiteY0" fmla="*/ 0 h 6843848"/>
              <a:gd name="connsiteX1" fmla="*/ 6165763 w 6165763"/>
              <a:gd name="connsiteY1" fmla="*/ 31361 h 6843848"/>
              <a:gd name="connsiteX2" fmla="*/ 3257868 w 6165763"/>
              <a:gd name="connsiteY2" fmla="*/ 6843848 h 6843848"/>
              <a:gd name="connsiteX3" fmla="*/ 0 w 6165763"/>
              <a:gd name="connsiteY3" fmla="*/ 0 h 6843848"/>
              <a:gd name="connsiteX0" fmla="*/ 0 w 6165763"/>
              <a:gd name="connsiteY0" fmla="*/ 0 h 6843848"/>
              <a:gd name="connsiteX1" fmla="*/ 6165763 w 6165763"/>
              <a:gd name="connsiteY1" fmla="*/ 31361 h 6843848"/>
              <a:gd name="connsiteX2" fmla="*/ 3257868 w 6165763"/>
              <a:gd name="connsiteY2" fmla="*/ 6843848 h 6843848"/>
              <a:gd name="connsiteX3" fmla="*/ 0 w 6165763"/>
              <a:gd name="connsiteY3" fmla="*/ 0 h 6843848"/>
              <a:gd name="connsiteX0" fmla="*/ 0 w 6165763"/>
              <a:gd name="connsiteY0" fmla="*/ 0 h 6833423"/>
              <a:gd name="connsiteX1" fmla="*/ 6165763 w 6165763"/>
              <a:gd name="connsiteY1" fmla="*/ 20936 h 6833423"/>
              <a:gd name="connsiteX2" fmla="*/ 3257868 w 6165763"/>
              <a:gd name="connsiteY2" fmla="*/ 6833423 h 6833423"/>
              <a:gd name="connsiteX3" fmla="*/ 0 w 6165763"/>
              <a:gd name="connsiteY3" fmla="*/ 0 h 6833423"/>
              <a:gd name="connsiteX0" fmla="*/ 0 w 6165763"/>
              <a:gd name="connsiteY0" fmla="*/ 0 h 6833423"/>
              <a:gd name="connsiteX1" fmla="*/ 6165763 w 6165763"/>
              <a:gd name="connsiteY1" fmla="*/ 20936 h 6833423"/>
              <a:gd name="connsiteX2" fmla="*/ 3257868 w 6165763"/>
              <a:gd name="connsiteY2" fmla="*/ 6833423 h 6833423"/>
              <a:gd name="connsiteX3" fmla="*/ 0 w 6165763"/>
              <a:gd name="connsiteY3" fmla="*/ 0 h 6833423"/>
            </a:gdLst>
            <a:ahLst/>
            <a:cxnLst>
              <a:cxn ang="0">
                <a:pos x="connsiteX0" y="connsiteY0"/>
              </a:cxn>
              <a:cxn ang="0">
                <a:pos x="connsiteX1" y="connsiteY1"/>
              </a:cxn>
              <a:cxn ang="0">
                <a:pos x="connsiteX2" y="connsiteY2"/>
              </a:cxn>
              <a:cxn ang="0">
                <a:pos x="connsiteX3" y="connsiteY3"/>
              </a:cxn>
            </a:cxnLst>
            <a:rect l="l" t="t" r="r" b="b"/>
            <a:pathLst>
              <a:path w="6165763" h="6833423">
                <a:moveTo>
                  <a:pt x="0" y="0"/>
                </a:moveTo>
                <a:cubicBezTo>
                  <a:pt x="6133268" y="34781"/>
                  <a:pt x="64026" y="17432"/>
                  <a:pt x="6165763" y="20936"/>
                </a:cubicBezTo>
                <a:cubicBezTo>
                  <a:pt x="3231031" y="6832234"/>
                  <a:pt x="4227166" y="4562594"/>
                  <a:pt x="3257868" y="6833423"/>
                </a:cubicBezTo>
                <a:cubicBezTo>
                  <a:pt x="-7232" y="-52592"/>
                  <a:pt x="3223060" y="6833887"/>
                  <a:pt x="0" y="0"/>
                </a:cubicBezTo>
                <a:close/>
              </a:path>
            </a:pathLst>
          </a:custGeom>
        </p:spPr>
        <p:txBody>
          <a:bodyPr/>
          <a:lstStyle/>
          <a:p>
            <a:r>
              <a:rPr lang="fi-FI"/>
              <a:t>Lisää kuva napsauttamalla kuvaketta</a:t>
            </a:r>
            <a:endParaRPr lang="fi-FI" dirty="0"/>
          </a:p>
        </p:txBody>
      </p:sp>
      <p:pic>
        <p:nvPicPr>
          <p:cNvPr id="32" name="Kuva 31" descr="Kuva, joka sisältää kohteen ruoka&#10;&#10;Kuvaus luotu automaattisesti">
            <a:extLst>
              <a:ext uri="{FF2B5EF4-FFF2-40B4-BE49-F238E27FC236}">
                <a16:creationId xmlns:a16="http://schemas.microsoft.com/office/drawing/2014/main" id="{F10F8FD9-FBD8-45AD-B887-4952DBBA1A86}"/>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096713" y="5886000"/>
            <a:ext cx="3077488" cy="396000"/>
          </a:xfrm>
          <a:prstGeom prst="rect">
            <a:avLst/>
          </a:prstGeom>
        </p:spPr>
      </p:pic>
      <p:sp>
        <p:nvSpPr>
          <p:cNvPr id="29" name="Vapaamuotoinen: Muoto 28">
            <a:extLst>
              <a:ext uri="{FF2B5EF4-FFF2-40B4-BE49-F238E27FC236}">
                <a16:creationId xmlns:a16="http://schemas.microsoft.com/office/drawing/2014/main" id="{51083D49-F859-450D-987B-994D76BDF8A0}"/>
              </a:ext>
            </a:extLst>
          </p:cNvPr>
          <p:cNvSpPr/>
          <p:nvPr userDrawn="1"/>
        </p:nvSpPr>
        <p:spPr>
          <a:xfrm>
            <a:off x="351" y="0"/>
            <a:ext cx="3247345" cy="6875550"/>
          </a:xfrm>
          <a:custGeom>
            <a:avLst/>
            <a:gdLst>
              <a:gd name="connsiteX0" fmla="*/ 0 w 3087330"/>
              <a:gd name="connsiteY0" fmla="*/ 0 h 6921910"/>
              <a:gd name="connsiteX1" fmla="*/ 3087330 w 3087330"/>
              <a:gd name="connsiteY1" fmla="*/ 6921910 h 6921910"/>
              <a:gd name="connsiteX2" fmla="*/ 9833 w 3087330"/>
              <a:gd name="connsiteY2" fmla="*/ 6921910 h 6921910"/>
              <a:gd name="connsiteX3" fmla="*/ 0 w 3087330"/>
              <a:gd name="connsiteY3" fmla="*/ 0 h 6921910"/>
              <a:gd name="connsiteX0" fmla="*/ 1091 w 3088421"/>
              <a:gd name="connsiteY0" fmla="*/ 0 h 6921910"/>
              <a:gd name="connsiteX1" fmla="*/ 3088421 w 3088421"/>
              <a:gd name="connsiteY1" fmla="*/ 6921910 h 6921910"/>
              <a:gd name="connsiteX2" fmla="*/ 927 w 3088421"/>
              <a:gd name="connsiteY2" fmla="*/ 6921910 h 6921910"/>
              <a:gd name="connsiteX3" fmla="*/ 1091 w 3088421"/>
              <a:gd name="connsiteY3" fmla="*/ 0 h 6921910"/>
            </a:gdLst>
            <a:ahLst/>
            <a:cxnLst>
              <a:cxn ang="0">
                <a:pos x="connsiteX0" y="connsiteY0"/>
              </a:cxn>
              <a:cxn ang="0">
                <a:pos x="connsiteX1" y="connsiteY1"/>
              </a:cxn>
              <a:cxn ang="0">
                <a:pos x="connsiteX2" y="connsiteY2"/>
              </a:cxn>
              <a:cxn ang="0">
                <a:pos x="connsiteX3" y="connsiteY3"/>
              </a:cxn>
            </a:cxnLst>
            <a:rect l="l" t="t" r="r" b="b"/>
            <a:pathLst>
              <a:path w="3088421" h="6921910">
                <a:moveTo>
                  <a:pt x="1091" y="0"/>
                </a:moveTo>
                <a:lnTo>
                  <a:pt x="3088421" y="6921910"/>
                </a:lnTo>
                <a:lnTo>
                  <a:pt x="927" y="6921910"/>
                </a:lnTo>
                <a:cubicBezTo>
                  <a:pt x="-2351" y="4614607"/>
                  <a:pt x="4369" y="2307303"/>
                  <a:pt x="1091"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4" name="Tekstiruutu 13">
            <a:extLst>
              <a:ext uri="{FF2B5EF4-FFF2-40B4-BE49-F238E27FC236}">
                <a16:creationId xmlns:a16="http://schemas.microsoft.com/office/drawing/2014/main" id="{89681B84-4805-4E1A-987A-858933E779BE}"/>
              </a:ext>
            </a:extLst>
          </p:cNvPr>
          <p:cNvSpPr txBox="1"/>
          <p:nvPr userDrawn="1"/>
        </p:nvSpPr>
        <p:spPr>
          <a:xfrm>
            <a:off x="6120000" y="3960000"/>
            <a:ext cx="4666593" cy="40011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sz="2000" spc="20" baseline="0" dirty="0">
                <a:solidFill>
                  <a:schemeClr val="accent1"/>
                </a:solidFill>
              </a:rPr>
              <a:t>lvm.fi   Twitter: @lvmfi</a:t>
            </a:r>
          </a:p>
        </p:txBody>
      </p:sp>
      <p:sp>
        <p:nvSpPr>
          <p:cNvPr id="17" name="Tekstin paikkamerkki 16">
            <a:extLst>
              <a:ext uri="{FF2B5EF4-FFF2-40B4-BE49-F238E27FC236}">
                <a16:creationId xmlns:a16="http://schemas.microsoft.com/office/drawing/2014/main" id="{04C4B069-EBBD-4F19-8ADE-9A0C822F7010}"/>
              </a:ext>
            </a:extLst>
          </p:cNvPr>
          <p:cNvSpPr>
            <a:spLocks noGrp="1"/>
          </p:cNvSpPr>
          <p:nvPr userDrawn="1">
            <p:ph type="body" sz="quarter" idx="11" hasCustomPrompt="1"/>
          </p:nvPr>
        </p:nvSpPr>
        <p:spPr>
          <a:xfrm>
            <a:off x="6120000" y="4392000"/>
            <a:ext cx="5580000" cy="966788"/>
          </a:xfrm>
        </p:spPr>
        <p:txBody>
          <a:bodyPr/>
          <a:lstStyle>
            <a:lvl1pPr marL="0" indent="0">
              <a:lnSpc>
                <a:spcPct val="100000"/>
              </a:lnSpc>
              <a:spcBef>
                <a:spcPts val="0"/>
              </a:spcBef>
              <a:buNone/>
              <a:defRPr sz="2000">
                <a:solidFill>
                  <a:schemeClr val="accent1"/>
                </a:solidFill>
              </a:defRPr>
            </a:lvl1pPr>
            <a:lvl2pPr>
              <a:defRPr sz="2000"/>
            </a:lvl2pPr>
            <a:lvl3pPr>
              <a:defRPr sz="2000"/>
            </a:lvl3pPr>
            <a:lvl4pPr>
              <a:defRPr sz="2000"/>
            </a:lvl4pPr>
            <a:lvl5pPr>
              <a:defRPr sz="2000"/>
            </a:lvl5pPr>
          </a:lstStyle>
          <a:p>
            <a:pPr lvl="0"/>
            <a:r>
              <a:rPr lang="fi-FI" dirty="0"/>
              <a:t>Lisää tekstiä tarvittaessa, esimerkiksi oma Twitter-tunnisteesi</a:t>
            </a:r>
          </a:p>
        </p:txBody>
      </p:sp>
      <p:sp>
        <p:nvSpPr>
          <p:cNvPr id="5" name="Tekstiruutu 4">
            <a:extLst>
              <a:ext uri="{FF2B5EF4-FFF2-40B4-BE49-F238E27FC236}">
                <a16:creationId xmlns:a16="http://schemas.microsoft.com/office/drawing/2014/main" id="{F0579FA4-2CC1-405D-A634-817E07CEC6C2}"/>
              </a:ext>
            </a:extLst>
          </p:cNvPr>
          <p:cNvSpPr txBox="1"/>
          <p:nvPr userDrawn="1"/>
        </p:nvSpPr>
        <p:spPr>
          <a:xfrm>
            <a:off x="6120000" y="2700000"/>
            <a:ext cx="5468983" cy="846386"/>
          </a:xfrm>
          <a:prstGeom prst="rect">
            <a:avLst/>
          </a:prstGeom>
          <a:noFill/>
        </p:spPr>
        <p:txBody>
          <a:bodyPr wrap="square" lIns="0" tIns="0" rIns="0" bIns="0" rtlCol="0">
            <a:spAutoFit/>
          </a:bodyPr>
          <a:lstStyle/>
          <a:p>
            <a:pPr algn="l"/>
            <a:r>
              <a:rPr lang="fi-FI" sz="5500" b="1" spc="20" baseline="0" dirty="0">
                <a:solidFill>
                  <a:schemeClr val="accent1"/>
                </a:solidFill>
              </a:rPr>
              <a:t>Kiitos!</a:t>
            </a:r>
          </a:p>
        </p:txBody>
      </p:sp>
    </p:spTree>
    <p:extLst>
      <p:ext uri="{BB962C8B-B14F-4D97-AF65-F5344CB8AC3E}">
        <p14:creationId xmlns:p14="http://schemas.microsoft.com/office/powerpoint/2010/main" val="2015765375"/>
      </p:ext>
    </p:extLst>
  </p:cSld>
  <p:clrMapOvr>
    <a:masterClrMapping/>
  </p:clrMapOvr>
  <p:extLst>
    <p:ext uri="{DCECCB84-F9BA-43D5-87BE-67443E8EF086}">
      <p15:sldGuideLst xmlns:p15="http://schemas.microsoft.com/office/powerpoint/2012/main">
        <p15:guide id="1" pos="1912" userDrawn="1">
          <p15:clr>
            <a:srgbClr val="FBAE40"/>
          </p15:clr>
        </p15:guide>
        <p15:guide id="2" pos="3863"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iitos - ruotsi">
    <p:spTree>
      <p:nvGrpSpPr>
        <p:cNvPr id="1" name=""/>
        <p:cNvGrpSpPr/>
        <p:nvPr/>
      </p:nvGrpSpPr>
      <p:grpSpPr>
        <a:xfrm>
          <a:off x="0" y="0"/>
          <a:ext cx="0" cy="0"/>
          <a:chOff x="0" y="0"/>
          <a:chExt cx="0" cy="0"/>
        </a:xfrm>
      </p:grpSpPr>
      <p:graphicFrame>
        <p:nvGraphicFramePr>
          <p:cNvPr id="4" name="Objekti 3" hidden="1">
            <a:extLst>
              <a:ext uri="{FF2B5EF4-FFF2-40B4-BE49-F238E27FC236}">
                <a16:creationId xmlns:a16="http://schemas.microsoft.com/office/drawing/2014/main" id="{13132959-FDAF-47AD-A7DD-EA034471F193}"/>
              </a:ext>
            </a:extLst>
          </p:cNvPr>
          <p:cNvGraphicFramePr>
            <a:graphicFrameLocks noChangeAspect="1"/>
          </p:cNvGraphicFramePr>
          <p:nvPr userDrawn="1">
            <p:custDataLst>
              <p:tags r:id="rId2"/>
            </p:custDataLst>
            <p:extLst>
              <p:ext uri="{D42A27DB-BD31-4B8C-83A1-F6EECF244321}">
                <p14:modId xmlns:p14="http://schemas.microsoft.com/office/powerpoint/2010/main" val="2195390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2" name="think-cell Slide" r:id="rId5" imgW="395" imgH="396" progId="TCLayout.ActiveDocument.1">
                  <p:embed/>
                </p:oleObj>
              </mc:Choice>
              <mc:Fallback>
                <p:oleObj name="think-cell Slide" r:id="rId5" imgW="395" imgH="396" progId="TCLayout.ActiveDocument.1">
                  <p:embed/>
                  <p:pic>
                    <p:nvPicPr>
                      <p:cNvPr id="4" name="Objekti 3" hidden="1">
                        <a:extLst>
                          <a:ext uri="{FF2B5EF4-FFF2-40B4-BE49-F238E27FC236}">
                            <a16:creationId xmlns:a16="http://schemas.microsoft.com/office/drawing/2014/main" id="{13132959-FDAF-47AD-A7DD-EA034471F19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Suorakulmio 2" hidden="1">
            <a:extLst>
              <a:ext uri="{FF2B5EF4-FFF2-40B4-BE49-F238E27FC236}">
                <a16:creationId xmlns:a16="http://schemas.microsoft.com/office/drawing/2014/main" id="{2569F56F-7BAB-4EC9-9935-080445F7A23C}"/>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i-FI" sz="4200" b="1" i="0" baseline="0" dirty="0">
              <a:latin typeface="Arial" panose="020B0604020202020204" pitchFamily="34" charset="0"/>
              <a:ea typeface="+mj-ea"/>
              <a:cs typeface="+mj-cs"/>
              <a:sym typeface="Arial" panose="020B0604020202020204" pitchFamily="34" charset="0"/>
            </a:endParaRPr>
          </a:p>
        </p:txBody>
      </p:sp>
      <p:sp>
        <p:nvSpPr>
          <p:cNvPr id="28" name="Kuvan paikkamerkki 27">
            <a:extLst>
              <a:ext uri="{FF2B5EF4-FFF2-40B4-BE49-F238E27FC236}">
                <a16:creationId xmlns:a16="http://schemas.microsoft.com/office/drawing/2014/main" id="{44F119D4-57A0-48F9-8B7A-72F510A26ECF}"/>
              </a:ext>
            </a:extLst>
          </p:cNvPr>
          <p:cNvSpPr>
            <a:spLocks noGrp="1"/>
          </p:cNvSpPr>
          <p:nvPr>
            <p:ph type="pic" sz="quarter" idx="10"/>
          </p:nvPr>
        </p:nvSpPr>
        <p:spPr>
          <a:xfrm>
            <a:off x="-21022" y="-21020"/>
            <a:ext cx="6165763" cy="6888830"/>
          </a:xfrm>
          <a:custGeom>
            <a:avLst/>
            <a:gdLst>
              <a:gd name="connsiteX0" fmla="*/ 0 w 6072188"/>
              <a:gd name="connsiteY0" fmla="*/ 0 h 6865717"/>
              <a:gd name="connsiteX1" fmla="*/ 6072188 w 6072188"/>
              <a:gd name="connsiteY1" fmla="*/ 0 h 6865717"/>
              <a:gd name="connsiteX2" fmla="*/ 6072188 w 6072188"/>
              <a:gd name="connsiteY2" fmla="*/ 6865717 h 6865717"/>
              <a:gd name="connsiteX3" fmla="*/ 0 w 6072188"/>
              <a:gd name="connsiteY3" fmla="*/ 6865717 h 6865717"/>
              <a:gd name="connsiteX4" fmla="*/ 0 w 6072188"/>
              <a:gd name="connsiteY4" fmla="*/ 0 h 6865717"/>
              <a:gd name="connsiteX0" fmla="*/ 0 w 6072188"/>
              <a:gd name="connsiteY0" fmla="*/ 0 h 6885382"/>
              <a:gd name="connsiteX1" fmla="*/ 6072188 w 6072188"/>
              <a:gd name="connsiteY1" fmla="*/ 0 h 6885382"/>
              <a:gd name="connsiteX2" fmla="*/ 6072188 w 6072188"/>
              <a:gd name="connsiteY2" fmla="*/ 6865717 h 6885382"/>
              <a:gd name="connsiteX3" fmla="*/ 3077497 w 6072188"/>
              <a:gd name="connsiteY3" fmla="*/ 6885382 h 6885382"/>
              <a:gd name="connsiteX4" fmla="*/ 0 w 6072188"/>
              <a:gd name="connsiteY4" fmla="*/ 0 h 6885382"/>
              <a:gd name="connsiteX0" fmla="*/ 0 w 6072188"/>
              <a:gd name="connsiteY0" fmla="*/ 0 h 6885382"/>
              <a:gd name="connsiteX1" fmla="*/ 6072188 w 6072188"/>
              <a:gd name="connsiteY1" fmla="*/ 0 h 6885382"/>
              <a:gd name="connsiteX2" fmla="*/ 3077497 w 6072188"/>
              <a:gd name="connsiteY2" fmla="*/ 6885382 h 6885382"/>
              <a:gd name="connsiteX3" fmla="*/ 0 w 6072188"/>
              <a:gd name="connsiteY3" fmla="*/ 0 h 6885382"/>
              <a:gd name="connsiteX0" fmla="*/ 0 w 6160678"/>
              <a:gd name="connsiteY0" fmla="*/ 9832 h 6895214"/>
              <a:gd name="connsiteX1" fmla="*/ 6160678 w 6160678"/>
              <a:gd name="connsiteY1" fmla="*/ 0 h 6895214"/>
              <a:gd name="connsiteX2" fmla="*/ 3077497 w 6160678"/>
              <a:gd name="connsiteY2" fmla="*/ 6895214 h 6895214"/>
              <a:gd name="connsiteX3" fmla="*/ 0 w 6160678"/>
              <a:gd name="connsiteY3" fmla="*/ 9832 h 6895214"/>
              <a:gd name="connsiteX0" fmla="*/ 0 w 6160678"/>
              <a:gd name="connsiteY0" fmla="*/ 9832 h 6875550"/>
              <a:gd name="connsiteX1" fmla="*/ 6160678 w 6160678"/>
              <a:gd name="connsiteY1" fmla="*/ 0 h 6875550"/>
              <a:gd name="connsiteX2" fmla="*/ 3126658 w 6160678"/>
              <a:gd name="connsiteY2" fmla="*/ 6875550 h 6875550"/>
              <a:gd name="connsiteX3" fmla="*/ 0 w 6160678"/>
              <a:gd name="connsiteY3" fmla="*/ 9832 h 6875550"/>
              <a:gd name="connsiteX0" fmla="*/ 0 w 6239336"/>
              <a:gd name="connsiteY0" fmla="*/ 0 h 6875550"/>
              <a:gd name="connsiteX1" fmla="*/ 6239336 w 6239336"/>
              <a:gd name="connsiteY1" fmla="*/ 0 h 6875550"/>
              <a:gd name="connsiteX2" fmla="*/ 3205316 w 6239336"/>
              <a:gd name="connsiteY2" fmla="*/ 6875550 h 6875550"/>
              <a:gd name="connsiteX3" fmla="*/ 0 w 6239336"/>
              <a:gd name="connsiteY3" fmla="*/ 0 h 6875550"/>
              <a:gd name="connsiteX0" fmla="*/ 0 w 6239336"/>
              <a:gd name="connsiteY0" fmla="*/ 0 h 6822998"/>
              <a:gd name="connsiteX1" fmla="*/ 6239336 w 6239336"/>
              <a:gd name="connsiteY1" fmla="*/ 0 h 6822998"/>
              <a:gd name="connsiteX2" fmla="*/ 3226337 w 6239336"/>
              <a:gd name="connsiteY2" fmla="*/ 6822998 h 6822998"/>
              <a:gd name="connsiteX3" fmla="*/ 0 w 6239336"/>
              <a:gd name="connsiteY3" fmla="*/ 0 h 6822998"/>
              <a:gd name="connsiteX0" fmla="*/ 0 w 6144743"/>
              <a:gd name="connsiteY0" fmla="*/ 0 h 6822998"/>
              <a:gd name="connsiteX1" fmla="*/ 6144743 w 6144743"/>
              <a:gd name="connsiteY1" fmla="*/ 10511 h 6822998"/>
              <a:gd name="connsiteX2" fmla="*/ 3226337 w 6144743"/>
              <a:gd name="connsiteY2" fmla="*/ 6822998 h 6822998"/>
              <a:gd name="connsiteX3" fmla="*/ 0 w 6144743"/>
              <a:gd name="connsiteY3" fmla="*/ 0 h 6822998"/>
              <a:gd name="connsiteX0" fmla="*/ 0 w 6134232"/>
              <a:gd name="connsiteY0" fmla="*/ 0 h 6822998"/>
              <a:gd name="connsiteX1" fmla="*/ 6134232 w 6134232"/>
              <a:gd name="connsiteY1" fmla="*/ 10511 h 6822998"/>
              <a:gd name="connsiteX2" fmla="*/ 3226337 w 6134232"/>
              <a:gd name="connsiteY2" fmla="*/ 6822998 h 6822998"/>
              <a:gd name="connsiteX3" fmla="*/ 0 w 6134232"/>
              <a:gd name="connsiteY3" fmla="*/ 0 h 6822998"/>
              <a:gd name="connsiteX0" fmla="*/ 0 w 6134232"/>
              <a:gd name="connsiteY0" fmla="*/ 0 h 6822998"/>
              <a:gd name="connsiteX1" fmla="*/ 6134232 w 6134232"/>
              <a:gd name="connsiteY1" fmla="*/ 10511 h 6822998"/>
              <a:gd name="connsiteX2" fmla="*/ 3226337 w 6134232"/>
              <a:gd name="connsiteY2" fmla="*/ 6822998 h 6822998"/>
              <a:gd name="connsiteX3" fmla="*/ 0 w 6134232"/>
              <a:gd name="connsiteY3" fmla="*/ 0 h 6822998"/>
              <a:gd name="connsiteX0" fmla="*/ 0 w 6134232"/>
              <a:gd name="connsiteY0" fmla="*/ 0 h 6822998"/>
              <a:gd name="connsiteX1" fmla="*/ 6134232 w 6134232"/>
              <a:gd name="connsiteY1" fmla="*/ 10511 h 6822998"/>
              <a:gd name="connsiteX2" fmla="*/ 3226337 w 6134232"/>
              <a:gd name="connsiteY2" fmla="*/ 6822998 h 6822998"/>
              <a:gd name="connsiteX3" fmla="*/ 0 w 6134232"/>
              <a:gd name="connsiteY3" fmla="*/ 0 h 6822998"/>
              <a:gd name="connsiteX0" fmla="*/ 0 w 6144742"/>
              <a:gd name="connsiteY0" fmla="*/ 0 h 6833423"/>
              <a:gd name="connsiteX1" fmla="*/ 6144742 w 6144742"/>
              <a:gd name="connsiteY1" fmla="*/ 20936 h 6833423"/>
              <a:gd name="connsiteX2" fmla="*/ 3236847 w 6144742"/>
              <a:gd name="connsiteY2" fmla="*/ 6833423 h 6833423"/>
              <a:gd name="connsiteX3" fmla="*/ 0 w 6144742"/>
              <a:gd name="connsiteY3" fmla="*/ 0 h 6833423"/>
              <a:gd name="connsiteX0" fmla="*/ 0 w 6144742"/>
              <a:gd name="connsiteY0" fmla="*/ 0 h 6833423"/>
              <a:gd name="connsiteX1" fmla="*/ 6144742 w 6144742"/>
              <a:gd name="connsiteY1" fmla="*/ 20936 h 6833423"/>
              <a:gd name="connsiteX2" fmla="*/ 3236847 w 6144742"/>
              <a:gd name="connsiteY2" fmla="*/ 6833423 h 6833423"/>
              <a:gd name="connsiteX3" fmla="*/ 0 w 6144742"/>
              <a:gd name="connsiteY3" fmla="*/ 0 h 6833423"/>
              <a:gd name="connsiteX0" fmla="*/ 0 w 6144742"/>
              <a:gd name="connsiteY0" fmla="*/ 0 h 6833423"/>
              <a:gd name="connsiteX1" fmla="*/ 6144742 w 6144742"/>
              <a:gd name="connsiteY1" fmla="*/ 20936 h 6833423"/>
              <a:gd name="connsiteX2" fmla="*/ 3236847 w 6144742"/>
              <a:gd name="connsiteY2" fmla="*/ 6833423 h 6833423"/>
              <a:gd name="connsiteX3" fmla="*/ 0 w 6144742"/>
              <a:gd name="connsiteY3" fmla="*/ 0 h 6833423"/>
              <a:gd name="connsiteX0" fmla="*/ 0 w 6144742"/>
              <a:gd name="connsiteY0" fmla="*/ 0 h 6843848"/>
              <a:gd name="connsiteX1" fmla="*/ 6144742 w 6144742"/>
              <a:gd name="connsiteY1" fmla="*/ 31361 h 6843848"/>
              <a:gd name="connsiteX2" fmla="*/ 3236847 w 6144742"/>
              <a:gd name="connsiteY2" fmla="*/ 6843848 h 6843848"/>
              <a:gd name="connsiteX3" fmla="*/ 0 w 6144742"/>
              <a:gd name="connsiteY3" fmla="*/ 0 h 6843848"/>
              <a:gd name="connsiteX0" fmla="*/ 0 w 6165763"/>
              <a:gd name="connsiteY0" fmla="*/ 0 h 6843848"/>
              <a:gd name="connsiteX1" fmla="*/ 6165763 w 6165763"/>
              <a:gd name="connsiteY1" fmla="*/ 31361 h 6843848"/>
              <a:gd name="connsiteX2" fmla="*/ 3257868 w 6165763"/>
              <a:gd name="connsiteY2" fmla="*/ 6843848 h 6843848"/>
              <a:gd name="connsiteX3" fmla="*/ 0 w 6165763"/>
              <a:gd name="connsiteY3" fmla="*/ 0 h 6843848"/>
              <a:gd name="connsiteX0" fmla="*/ 0 w 6165763"/>
              <a:gd name="connsiteY0" fmla="*/ 0 h 6843848"/>
              <a:gd name="connsiteX1" fmla="*/ 6165763 w 6165763"/>
              <a:gd name="connsiteY1" fmla="*/ 31361 h 6843848"/>
              <a:gd name="connsiteX2" fmla="*/ 3257868 w 6165763"/>
              <a:gd name="connsiteY2" fmla="*/ 6843848 h 6843848"/>
              <a:gd name="connsiteX3" fmla="*/ 0 w 6165763"/>
              <a:gd name="connsiteY3" fmla="*/ 0 h 6843848"/>
              <a:gd name="connsiteX0" fmla="*/ 0 w 6165763"/>
              <a:gd name="connsiteY0" fmla="*/ 0 h 6843848"/>
              <a:gd name="connsiteX1" fmla="*/ 6165763 w 6165763"/>
              <a:gd name="connsiteY1" fmla="*/ 31361 h 6843848"/>
              <a:gd name="connsiteX2" fmla="*/ 3257868 w 6165763"/>
              <a:gd name="connsiteY2" fmla="*/ 6843848 h 6843848"/>
              <a:gd name="connsiteX3" fmla="*/ 0 w 6165763"/>
              <a:gd name="connsiteY3" fmla="*/ 0 h 6843848"/>
              <a:gd name="connsiteX0" fmla="*/ 0 w 6165763"/>
              <a:gd name="connsiteY0" fmla="*/ 0 h 6843848"/>
              <a:gd name="connsiteX1" fmla="*/ 6165763 w 6165763"/>
              <a:gd name="connsiteY1" fmla="*/ 31361 h 6843848"/>
              <a:gd name="connsiteX2" fmla="*/ 3257868 w 6165763"/>
              <a:gd name="connsiteY2" fmla="*/ 6843848 h 6843848"/>
              <a:gd name="connsiteX3" fmla="*/ 0 w 6165763"/>
              <a:gd name="connsiteY3" fmla="*/ 0 h 6843848"/>
              <a:gd name="connsiteX0" fmla="*/ 0 w 6165763"/>
              <a:gd name="connsiteY0" fmla="*/ 0 h 6833423"/>
              <a:gd name="connsiteX1" fmla="*/ 6165763 w 6165763"/>
              <a:gd name="connsiteY1" fmla="*/ 20936 h 6833423"/>
              <a:gd name="connsiteX2" fmla="*/ 3257868 w 6165763"/>
              <a:gd name="connsiteY2" fmla="*/ 6833423 h 6833423"/>
              <a:gd name="connsiteX3" fmla="*/ 0 w 6165763"/>
              <a:gd name="connsiteY3" fmla="*/ 0 h 6833423"/>
              <a:gd name="connsiteX0" fmla="*/ 0 w 6165763"/>
              <a:gd name="connsiteY0" fmla="*/ 0 h 6833423"/>
              <a:gd name="connsiteX1" fmla="*/ 6165763 w 6165763"/>
              <a:gd name="connsiteY1" fmla="*/ 20936 h 6833423"/>
              <a:gd name="connsiteX2" fmla="*/ 3257868 w 6165763"/>
              <a:gd name="connsiteY2" fmla="*/ 6833423 h 6833423"/>
              <a:gd name="connsiteX3" fmla="*/ 0 w 6165763"/>
              <a:gd name="connsiteY3" fmla="*/ 0 h 6833423"/>
            </a:gdLst>
            <a:ahLst/>
            <a:cxnLst>
              <a:cxn ang="0">
                <a:pos x="connsiteX0" y="connsiteY0"/>
              </a:cxn>
              <a:cxn ang="0">
                <a:pos x="connsiteX1" y="connsiteY1"/>
              </a:cxn>
              <a:cxn ang="0">
                <a:pos x="connsiteX2" y="connsiteY2"/>
              </a:cxn>
              <a:cxn ang="0">
                <a:pos x="connsiteX3" y="connsiteY3"/>
              </a:cxn>
            </a:cxnLst>
            <a:rect l="l" t="t" r="r" b="b"/>
            <a:pathLst>
              <a:path w="6165763" h="6833423">
                <a:moveTo>
                  <a:pt x="0" y="0"/>
                </a:moveTo>
                <a:cubicBezTo>
                  <a:pt x="6133268" y="34781"/>
                  <a:pt x="64026" y="17432"/>
                  <a:pt x="6165763" y="20936"/>
                </a:cubicBezTo>
                <a:cubicBezTo>
                  <a:pt x="3231031" y="6832234"/>
                  <a:pt x="4227166" y="4562594"/>
                  <a:pt x="3257868" y="6833423"/>
                </a:cubicBezTo>
                <a:cubicBezTo>
                  <a:pt x="-7232" y="-52592"/>
                  <a:pt x="3223060" y="6833887"/>
                  <a:pt x="0" y="0"/>
                </a:cubicBezTo>
                <a:close/>
              </a:path>
            </a:pathLst>
          </a:custGeom>
        </p:spPr>
        <p:txBody>
          <a:bodyPr/>
          <a:lstStyle/>
          <a:p>
            <a:r>
              <a:rPr lang="fi-FI"/>
              <a:t>Lisää kuva napsauttamalla kuvaketta</a:t>
            </a:r>
            <a:endParaRPr lang="fi-FI" dirty="0"/>
          </a:p>
        </p:txBody>
      </p:sp>
      <p:sp>
        <p:nvSpPr>
          <p:cNvPr id="29" name="Vapaamuotoinen: Muoto 28">
            <a:extLst>
              <a:ext uri="{FF2B5EF4-FFF2-40B4-BE49-F238E27FC236}">
                <a16:creationId xmlns:a16="http://schemas.microsoft.com/office/drawing/2014/main" id="{51083D49-F859-450D-987B-994D76BDF8A0}"/>
              </a:ext>
            </a:extLst>
          </p:cNvPr>
          <p:cNvSpPr/>
          <p:nvPr userDrawn="1"/>
        </p:nvSpPr>
        <p:spPr>
          <a:xfrm>
            <a:off x="351" y="0"/>
            <a:ext cx="3247345" cy="6875550"/>
          </a:xfrm>
          <a:custGeom>
            <a:avLst/>
            <a:gdLst>
              <a:gd name="connsiteX0" fmla="*/ 0 w 3087330"/>
              <a:gd name="connsiteY0" fmla="*/ 0 h 6921910"/>
              <a:gd name="connsiteX1" fmla="*/ 3087330 w 3087330"/>
              <a:gd name="connsiteY1" fmla="*/ 6921910 h 6921910"/>
              <a:gd name="connsiteX2" fmla="*/ 9833 w 3087330"/>
              <a:gd name="connsiteY2" fmla="*/ 6921910 h 6921910"/>
              <a:gd name="connsiteX3" fmla="*/ 0 w 3087330"/>
              <a:gd name="connsiteY3" fmla="*/ 0 h 6921910"/>
              <a:gd name="connsiteX0" fmla="*/ 1091 w 3088421"/>
              <a:gd name="connsiteY0" fmla="*/ 0 h 6921910"/>
              <a:gd name="connsiteX1" fmla="*/ 3088421 w 3088421"/>
              <a:gd name="connsiteY1" fmla="*/ 6921910 h 6921910"/>
              <a:gd name="connsiteX2" fmla="*/ 927 w 3088421"/>
              <a:gd name="connsiteY2" fmla="*/ 6921910 h 6921910"/>
              <a:gd name="connsiteX3" fmla="*/ 1091 w 3088421"/>
              <a:gd name="connsiteY3" fmla="*/ 0 h 6921910"/>
            </a:gdLst>
            <a:ahLst/>
            <a:cxnLst>
              <a:cxn ang="0">
                <a:pos x="connsiteX0" y="connsiteY0"/>
              </a:cxn>
              <a:cxn ang="0">
                <a:pos x="connsiteX1" y="connsiteY1"/>
              </a:cxn>
              <a:cxn ang="0">
                <a:pos x="connsiteX2" y="connsiteY2"/>
              </a:cxn>
              <a:cxn ang="0">
                <a:pos x="connsiteX3" y="connsiteY3"/>
              </a:cxn>
            </a:cxnLst>
            <a:rect l="l" t="t" r="r" b="b"/>
            <a:pathLst>
              <a:path w="3088421" h="6921910">
                <a:moveTo>
                  <a:pt x="1091" y="0"/>
                </a:moveTo>
                <a:lnTo>
                  <a:pt x="3088421" y="6921910"/>
                </a:lnTo>
                <a:lnTo>
                  <a:pt x="927" y="6921910"/>
                </a:lnTo>
                <a:cubicBezTo>
                  <a:pt x="-2351" y="4614607"/>
                  <a:pt x="4369" y="2307303"/>
                  <a:pt x="1091"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pic>
        <p:nvPicPr>
          <p:cNvPr id="7" name="Kuva 6" descr="Kuva, joka sisältää kohteen piirtäminen&#10;&#10;Kuvaus luotu automaattisesti">
            <a:extLst>
              <a:ext uri="{FF2B5EF4-FFF2-40B4-BE49-F238E27FC236}">
                <a16:creationId xmlns:a16="http://schemas.microsoft.com/office/drawing/2014/main" id="{256E7178-C3F5-4BC9-8C47-60F71F385BAC}"/>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l="-1" r="-1"/>
          <a:stretch/>
        </p:blipFill>
        <p:spPr>
          <a:xfrm>
            <a:off x="6084012" y="5886000"/>
            <a:ext cx="2885144" cy="396000"/>
          </a:xfrm>
          <a:prstGeom prst="rect">
            <a:avLst/>
          </a:prstGeom>
        </p:spPr>
      </p:pic>
      <p:sp>
        <p:nvSpPr>
          <p:cNvPr id="5" name="Tekstiruutu 4">
            <a:extLst>
              <a:ext uri="{FF2B5EF4-FFF2-40B4-BE49-F238E27FC236}">
                <a16:creationId xmlns:a16="http://schemas.microsoft.com/office/drawing/2014/main" id="{14F41684-A087-4CBE-B119-F203F60264D8}"/>
              </a:ext>
            </a:extLst>
          </p:cNvPr>
          <p:cNvSpPr txBox="1"/>
          <p:nvPr userDrawn="1"/>
        </p:nvSpPr>
        <p:spPr>
          <a:xfrm>
            <a:off x="6120000" y="2700000"/>
            <a:ext cx="5468983" cy="846386"/>
          </a:xfrm>
          <a:prstGeom prst="rect">
            <a:avLst/>
          </a:prstGeom>
          <a:noFill/>
        </p:spPr>
        <p:txBody>
          <a:bodyPr wrap="square" lIns="0" tIns="0" rIns="0" bIns="0" rtlCol="0">
            <a:spAutoFit/>
          </a:bodyPr>
          <a:lstStyle/>
          <a:p>
            <a:pPr algn="l"/>
            <a:r>
              <a:rPr lang="fi-FI" sz="5500" b="1" spc="20" baseline="0" dirty="0" err="1">
                <a:solidFill>
                  <a:schemeClr val="accent1"/>
                </a:solidFill>
              </a:rPr>
              <a:t>Tack</a:t>
            </a:r>
            <a:r>
              <a:rPr lang="fi-FI" sz="5500" b="1" spc="20" baseline="0" dirty="0">
                <a:solidFill>
                  <a:schemeClr val="accent1"/>
                </a:solidFill>
              </a:rPr>
              <a:t>!</a:t>
            </a:r>
          </a:p>
        </p:txBody>
      </p:sp>
      <p:sp>
        <p:nvSpPr>
          <p:cNvPr id="15" name="Tekstin paikkamerkki 16">
            <a:extLst>
              <a:ext uri="{FF2B5EF4-FFF2-40B4-BE49-F238E27FC236}">
                <a16:creationId xmlns:a16="http://schemas.microsoft.com/office/drawing/2014/main" id="{0C96CA42-8A68-4A88-A99B-1AF14F5E8905}"/>
              </a:ext>
            </a:extLst>
          </p:cNvPr>
          <p:cNvSpPr>
            <a:spLocks noGrp="1"/>
          </p:cNvSpPr>
          <p:nvPr>
            <p:ph type="body" sz="quarter" idx="11" hasCustomPrompt="1"/>
          </p:nvPr>
        </p:nvSpPr>
        <p:spPr>
          <a:xfrm>
            <a:off x="6120000" y="4392000"/>
            <a:ext cx="5580000" cy="966788"/>
          </a:xfrm>
        </p:spPr>
        <p:txBody>
          <a:bodyPr/>
          <a:lstStyle>
            <a:lvl1pPr marL="0" indent="0">
              <a:lnSpc>
                <a:spcPct val="100000"/>
              </a:lnSpc>
              <a:spcBef>
                <a:spcPts val="0"/>
              </a:spcBef>
              <a:buNone/>
              <a:defRPr sz="2000">
                <a:solidFill>
                  <a:schemeClr val="accent1"/>
                </a:solidFill>
              </a:defRPr>
            </a:lvl1pPr>
            <a:lvl2pPr>
              <a:defRPr sz="2000"/>
            </a:lvl2pPr>
            <a:lvl3pPr>
              <a:defRPr sz="2000"/>
            </a:lvl3pPr>
            <a:lvl4pPr>
              <a:defRPr sz="2000"/>
            </a:lvl4pPr>
            <a:lvl5pPr>
              <a:defRPr sz="2000"/>
            </a:lvl5pPr>
          </a:lstStyle>
          <a:p>
            <a:pPr lvl="0"/>
            <a:r>
              <a:rPr lang="fi-FI" dirty="0"/>
              <a:t>Lisää tekstiä tarvittaessa, esimerkiksi oma Twitter-tunnisteesi</a:t>
            </a:r>
          </a:p>
        </p:txBody>
      </p:sp>
      <p:sp>
        <p:nvSpPr>
          <p:cNvPr id="6" name="Tekstiruutu 5">
            <a:extLst>
              <a:ext uri="{FF2B5EF4-FFF2-40B4-BE49-F238E27FC236}">
                <a16:creationId xmlns:a16="http://schemas.microsoft.com/office/drawing/2014/main" id="{368B01E7-2081-428F-B8DA-704A971436EE}"/>
              </a:ext>
            </a:extLst>
          </p:cNvPr>
          <p:cNvSpPr txBox="1"/>
          <p:nvPr userDrawn="1"/>
        </p:nvSpPr>
        <p:spPr>
          <a:xfrm>
            <a:off x="6120000" y="3960000"/>
            <a:ext cx="4666593" cy="40011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sz="2000" spc="20" baseline="0" dirty="0">
                <a:solidFill>
                  <a:schemeClr val="accent1"/>
                </a:solidFill>
              </a:rPr>
              <a:t>lvm.fi/</a:t>
            </a:r>
            <a:r>
              <a:rPr lang="fi-FI" sz="2000" spc="20" baseline="0" dirty="0" err="1">
                <a:solidFill>
                  <a:schemeClr val="accent1"/>
                </a:solidFill>
              </a:rPr>
              <a:t>sv</a:t>
            </a:r>
            <a:r>
              <a:rPr lang="fi-FI" sz="2000" spc="20" baseline="0" dirty="0">
                <a:solidFill>
                  <a:schemeClr val="accent1"/>
                </a:solidFill>
              </a:rPr>
              <a:t>   Twitter: @lvmfi</a:t>
            </a:r>
          </a:p>
        </p:txBody>
      </p:sp>
    </p:spTree>
    <p:extLst>
      <p:ext uri="{BB962C8B-B14F-4D97-AF65-F5344CB8AC3E}">
        <p14:creationId xmlns:p14="http://schemas.microsoft.com/office/powerpoint/2010/main" val="2434794907"/>
      </p:ext>
    </p:extLst>
  </p:cSld>
  <p:clrMapOvr>
    <a:masterClrMapping/>
  </p:clrMapOvr>
  <p:extLst>
    <p:ext uri="{DCECCB84-F9BA-43D5-87BE-67443E8EF086}">
      <p15:sldGuideLst xmlns:p15="http://schemas.microsoft.com/office/powerpoint/2012/main">
        <p15:guide id="1" pos="1912" userDrawn="1">
          <p15:clr>
            <a:srgbClr val="FBAE40"/>
          </p15:clr>
        </p15:guide>
        <p15:guide id="2" pos="3863"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iitos - englanti">
    <p:spTree>
      <p:nvGrpSpPr>
        <p:cNvPr id="1" name=""/>
        <p:cNvGrpSpPr/>
        <p:nvPr/>
      </p:nvGrpSpPr>
      <p:grpSpPr>
        <a:xfrm>
          <a:off x="0" y="0"/>
          <a:ext cx="0" cy="0"/>
          <a:chOff x="0" y="0"/>
          <a:chExt cx="0" cy="0"/>
        </a:xfrm>
      </p:grpSpPr>
      <p:graphicFrame>
        <p:nvGraphicFramePr>
          <p:cNvPr id="4" name="Objekti 3" hidden="1">
            <a:extLst>
              <a:ext uri="{FF2B5EF4-FFF2-40B4-BE49-F238E27FC236}">
                <a16:creationId xmlns:a16="http://schemas.microsoft.com/office/drawing/2014/main" id="{584B13AD-38C9-41D0-B5CA-E488E81498F4}"/>
              </a:ext>
            </a:extLst>
          </p:cNvPr>
          <p:cNvGraphicFramePr>
            <a:graphicFrameLocks noChangeAspect="1"/>
          </p:cNvGraphicFramePr>
          <p:nvPr userDrawn="1">
            <p:custDataLst>
              <p:tags r:id="rId2"/>
            </p:custDataLst>
            <p:extLst>
              <p:ext uri="{D42A27DB-BD31-4B8C-83A1-F6EECF244321}">
                <p14:modId xmlns:p14="http://schemas.microsoft.com/office/powerpoint/2010/main" val="3738737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86" name="think-cell Slide" r:id="rId5" imgW="395" imgH="396" progId="TCLayout.ActiveDocument.1">
                  <p:embed/>
                </p:oleObj>
              </mc:Choice>
              <mc:Fallback>
                <p:oleObj name="think-cell Slide" r:id="rId5" imgW="395" imgH="396" progId="TCLayout.ActiveDocument.1">
                  <p:embed/>
                  <p:pic>
                    <p:nvPicPr>
                      <p:cNvPr id="4" name="Objekti 3" hidden="1">
                        <a:extLst>
                          <a:ext uri="{FF2B5EF4-FFF2-40B4-BE49-F238E27FC236}">
                            <a16:creationId xmlns:a16="http://schemas.microsoft.com/office/drawing/2014/main" id="{584B13AD-38C9-41D0-B5CA-E488E81498F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Suorakulmio 6" hidden="1">
            <a:extLst>
              <a:ext uri="{FF2B5EF4-FFF2-40B4-BE49-F238E27FC236}">
                <a16:creationId xmlns:a16="http://schemas.microsoft.com/office/drawing/2014/main" id="{D1ABE656-6E12-4222-8818-D6ACA504449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i-FI" sz="4200" b="1" i="0" baseline="0" dirty="0">
              <a:latin typeface="Arial" panose="020B0604020202020204" pitchFamily="34" charset="0"/>
              <a:ea typeface="+mj-ea"/>
              <a:cs typeface="+mj-cs"/>
              <a:sym typeface="Arial" panose="020B0604020202020204" pitchFamily="34" charset="0"/>
            </a:endParaRPr>
          </a:p>
        </p:txBody>
      </p:sp>
      <p:sp>
        <p:nvSpPr>
          <p:cNvPr id="28" name="Kuvan paikkamerkki 27">
            <a:extLst>
              <a:ext uri="{FF2B5EF4-FFF2-40B4-BE49-F238E27FC236}">
                <a16:creationId xmlns:a16="http://schemas.microsoft.com/office/drawing/2014/main" id="{44F119D4-57A0-48F9-8B7A-72F510A26ECF}"/>
              </a:ext>
            </a:extLst>
          </p:cNvPr>
          <p:cNvSpPr>
            <a:spLocks noGrp="1"/>
          </p:cNvSpPr>
          <p:nvPr>
            <p:ph type="pic" sz="quarter" idx="10"/>
          </p:nvPr>
        </p:nvSpPr>
        <p:spPr>
          <a:xfrm>
            <a:off x="-21022" y="-21020"/>
            <a:ext cx="6165763" cy="6888830"/>
          </a:xfrm>
          <a:custGeom>
            <a:avLst/>
            <a:gdLst>
              <a:gd name="connsiteX0" fmla="*/ 0 w 6072188"/>
              <a:gd name="connsiteY0" fmla="*/ 0 h 6865717"/>
              <a:gd name="connsiteX1" fmla="*/ 6072188 w 6072188"/>
              <a:gd name="connsiteY1" fmla="*/ 0 h 6865717"/>
              <a:gd name="connsiteX2" fmla="*/ 6072188 w 6072188"/>
              <a:gd name="connsiteY2" fmla="*/ 6865717 h 6865717"/>
              <a:gd name="connsiteX3" fmla="*/ 0 w 6072188"/>
              <a:gd name="connsiteY3" fmla="*/ 6865717 h 6865717"/>
              <a:gd name="connsiteX4" fmla="*/ 0 w 6072188"/>
              <a:gd name="connsiteY4" fmla="*/ 0 h 6865717"/>
              <a:gd name="connsiteX0" fmla="*/ 0 w 6072188"/>
              <a:gd name="connsiteY0" fmla="*/ 0 h 6885382"/>
              <a:gd name="connsiteX1" fmla="*/ 6072188 w 6072188"/>
              <a:gd name="connsiteY1" fmla="*/ 0 h 6885382"/>
              <a:gd name="connsiteX2" fmla="*/ 6072188 w 6072188"/>
              <a:gd name="connsiteY2" fmla="*/ 6865717 h 6885382"/>
              <a:gd name="connsiteX3" fmla="*/ 3077497 w 6072188"/>
              <a:gd name="connsiteY3" fmla="*/ 6885382 h 6885382"/>
              <a:gd name="connsiteX4" fmla="*/ 0 w 6072188"/>
              <a:gd name="connsiteY4" fmla="*/ 0 h 6885382"/>
              <a:gd name="connsiteX0" fmla="*/ 0 w 6072188"/>
              <a:gd name="connsiteY0" fmla="*/ 0 h 6885382"/>
              <a:gd name="connsiteX1" fmla="*/ 6072188 w 6072188"/>
              <a:gd name="connsiteY1" fmla="*/ 0 h 6885382"/>
              <a:gd name="connsiteX2" fmla="*/ 3077497 w 6072188"/>
              <a:gd name="connsiteY2" fmla="*/ 6885382 h 6885382"/>
              <a:gd name="connsiteX3" fmla="*/ 0 w 6072188"/>
              <a:gd name="connsiteY3" fmla="*/ 0 h 6885382"/>
              <a:gd name="connsiteX0" fmla="*/ 0 w 6160678"/>
              <a:gd name="connsiteY0" fmla="*/ 9832 h 6895214"/>
              <a:gd name="connsiteX1" fmla="*/ 6160678 w 6160678"/>
              <a:gd name="connsiteY1" fmla="*/ 0 h 6895214"/>
              <a:gd name="connsiteX2" fmla="*/ 3077497 w 6160678"/>
              <a:gd name="connsiteY2" fmla="*/ 6895214 h 6895214"/>
              <a:gd name="connsiteX3" fmla="*/ 0 w 6160678"/>
              <a:gd name="connsiteY3" fmla="*/ 9832 h 6895214"/>
              <a:gd name="connsiteX0" fmla="*/ 0 w 6160678"/>
              <a:gd name="connsiteY0" fmla="*/ 9832 h 6875550"/>
              <a:gd name="connsiteX1" fmla="*/ 6160678 w 6160678"/>
              <a:gd name="connsiteY1" fmla="*/ 0 h 6875550"/>
              <a:gd name="connsiteX2" fmla="*/ 3126658 w 6160678"/>
              <a:gd name="connsiteY2" fmla="*/ 6875550 h 6875550"/>
              <a:gd name="connsiteX3" fmla="*/ 0 w 6160678"/>
              <a:gd name="connsiteY3" fmla="*/ 9832 h 6875550"/>
              <a:gd name="connsiteX0" fmla="*/ 0 w 6239336"/>
              <a:gd name="connsiteY0" fmla="*/ 0 h 6875550"/>
              <a:gd name="connsiteX1" fmla="*/ 6239336 w 6239336"/>
              <a:gd name="connsiteY1" fmla="*/ 0 h 6875550"/>
              <a:gd name="connsiteX2" fmla="*/ 3205316 w 6239336"/>
              <a:gd name="connsiteY2" fmla="*/ 6875550 h 6875550"/>
              <a:gd name="connsiteX3" fmla="*/ 0 w 6239336"/>
              <a:gd name="connsiteY3" fmla="*/ 0 h 6875550"/>
              <a:gd name="connsiteX0" fmla="*/ 0 w 6239336"/>
              <a:gd name="connsiteY0" fmla="*/ 0 h 6822998"/>
              <a:gd name="connsiteX1" fmla="*/ 6239336 w 6239336"/>
              <a:gd name="connsiteY1" fmla="*/ 0 h 6822998"/>
              <a:gd name="connsiteX2" fmla="*/ 3226337 w 6239336"/>
              <a:gd name="connsiteY2" fmla="*/ 6822998 h 6822998"/>
              <a:gd name="connsiteX3" fmla="*/ 0 w 6239336"/>
              <a:gd name="connsiteY3" fmla="*/ 0 h 6822998"/>
              <a:gd name="connsiteX0" fmla="*/ 0 w 6144743"/>
              <a:gd name="connsiteY0" fmla="*/ 0 h 6822998"/>
              <a:gd name="connsiteX1" fmla="*/ 6144743 w 6144743"/>
              <a:gd name="connsiteY1" fmla="*/ 10511 h 6822998"/>
              <a:gd name="connsiteX2" fmla="*/ 3226337 w 6144743"/>
              <a:gd name="connsiteY2" fmla="*/ 6822998 h 6822998"/>
              <a:gd name="connsiteX3" fmla="*/ 0 w 6144743"/>
              <a:gd name="connsiteY3" fmla="*/ 0 h 6822998"/>
              <a:gd name="connsiteX0" fmla="*/ 0 w 6134232"/>
              <a:gd name="connsiteY0" fmla="*/ 0 h 6822998"/>
              <a:gd name="connsiteX1" fmla="*/ 6134232 w 6134232"/>
              <a:gd name="connsiteY1" fmla="*/ 10511 h 6822998"/>
              <a:gd name="connsiteX2" fmla="*/ 3226337 w 6134232"/>
              <a:gd name="connsiteY2" fmla="*/ 6822998 h 6822998"/>
              <a:gd name="connsiteX3" fmla="*/ 0 w 6134232"/>
              <a:gd name="connsiteY3" fmla="*/ 0 h 6822998"/>
              <a:gd name="connsiteX0" fmla="*/ 0 w 6134232"/>
              <a:gd name="connsiteY0" fmla="*/ 0 h 6822998"/>
              <a:gd name="connsiteX1" fmla="*/ 6134232 w 6134232"/>
              <a:gd name="connsiteY1" fmla="*/ 10511 h 6822998"/>
              <a:gd name="connsiteX2" fmla="*/ 3226337 w 6134232"/>
              <a:gd name="connsiteY2" fmla="*/ 6822998 h 6822998"/>
              <a:gd name="connsiteX3" fmla="*/ 0 w 6134232"/>
              <a:gd name="connsiteY3" fmla="*/ 0 h 6822998"/>
              <a:gd name="connsiteX0" fmla="*/ 0 w 6134232"/>
              <a:gd name="connsiteY0" fmla="*/ 0 h 6822998"/>
              <a:gd name="connsiteX1" fmla="*/ 6134232 w 6134232"/>
              <a:gd name="connsiteY1" fmla="*/ 10511 h 6822998"/>
              <a:gd name="connsiteX2" fmla="*/ 3226337 w 6134232"/>
              <a:gd name="connsiteY2" fmla="*/ 6822998 h 6822998"/>
              <a:gd name="connsiteX3" fmla="*/ 0 w 6134232"/>
              <a:gd name="connsiteY3" fmla="*/ 0 h 6822998"/>
              <a:gd name="connsiteX0" fmla="*/ 0 w 6144742"/>
              <a:gd name="connsiteY0" fmla="*/ 0 h 6833423"/>
              <a:gd name="connsiteX1" fmla="*/ 6144742 w 6144742"/>
              <a:gd name="connsiteY1" fmla="*/ 20936 h 6833423"/>
              <a:gd name="connsiteX2" fmla="*/ 3236847 w 6144742"/>
              <a:gd name="connsiteY2" fmla="*/ 6833423 h 6833423"/>
              <a:gd name="connsiteX3" fmla="*/ 0 w 6144742"/>
              <a:gd name="connsiteY3" fmla="*/ 0 h 6833423"/>
              <a:gd name="connsiteX0" fmla="*/ 0 w 6144742"/>
              <a:gd name="connsiteY0" fmla="*/ 0 h 6833423"/>
              <a:gd name="connsiteX1" fmla="*/ 6144742 w 6144742"/>
              <a:gd name="connsiteY1" fmla="*/ 20936 h 6833423"/>
              <a:gd name="connsiteX2" fmla="*/ 3236847 w 6144742"/>
              <a:gd name="connsiteY2" fmla="*/ 6833423 h 6833423"/>
              <a:gd name="connsiteX3" fmla="*/ 0 w 6144742"/>
              <a:gd name="connsiteY3" fmla="*/ 0 h 6833423"/>
              <a:gd name="connsiteX0" fmla="*/ 0 w 6144742"/>
              <a:gd name="connsiteY0" fmla="*/ 0 h 6833423"/>
              <a:gd name="connsiteX1" fmla="*/ 6144742 w 6144742"/>
              <a:gd name="connsiteY1" fmla="*/ 20936 h 6833423"/>
              <a:gd name="connsiteX2" fmla="*/ 3236847 w 6144742"/>
              <a:gd name="connsiteY2" fmla="*/ 6833423 h 6833423"/>
              <a:gd name="connsiteX3" fmla="*/ 0 w 6144742"/>
              <a:gd name="connsiteY3" fmla="*/ 0 h 6833423"/>
              <a:gd name="connsiteX0" fmla="*/ 0 w 6144742"/>
              <a:gd name="connsiteY0" fmla="*/ 0 h 6843848"/>
              <a:gd name="connsiteX1" fmla="*/ 6144742 w 6144742"/>
              <a:gd name="connsiteY1" fmla="*/ 31361 h 6843848"/>
              <a:gd name="connsiteX2" fmla="*/ 3236847 w 6144742"/>
              <a:gd name="connsiteY2" fmla="*/ 6843848 h 6843848"/>
              <a:gd name="connsiteX3" fmla="*/ 0 w 6144742"/>
              <a:gd name="connsiteY3" fmla="*/ 0 h 6843848"/>
              <a:gd name="connsiteX0" fmla="*/ 0 w 6165763"/>
              <a:gd name="connsiteY0" fmla="*/ 0 h 6843848"/>
              <a:gd name="connsiteX1" fmla="*/ 6165763 w 6165763"/>
              <a:gd name="connsiteY1" fmla="*/ 31361 h 6843848"/>
              <a:gd name="connsiteX2" fmla="*/ 3257868 w 6165763"/>
              <a:gd name="connsiteY2" fmla="*/ 6843848 h 6843848"/>
              <a:gd name="connsiteX3" fmla="*/ 0 w 6165763"/>
              <a:gd name="connsiteY3" fmla="*/ 0 h 6843848"/>
              <a:gd name="connsiteX0" fmla="*/ 0 w 6165763"/>
              <a:gd name="connsiteY0" fmla="*/ 0 h 6843848"/>
              <a:gd name="connsiteX1" fmla="*/ 6165763 w 6165763"/>
              <a:gd name="connsiteY1" fmla="*/ 31361 h 6843848"/>
              <a:gd name="connsiteX2" fmla="*/ 3257868 w 6165763"/>
              <a:gd name="connsiteY2" fmla="*/ 6843848 h 6843848"/>
              <a:gd name="connsiteX3" fmla="*/ 0 w 6165763"/>
              <a:gd name="connsiteY3" fmla="*/ 0 h 6843848"/>
              <a:gd name="connsiteX0" fmla="*/ 0 w 6165763"/>
              <a:gd name="connsiteY0" fmla="*/ 0 h 6843848"/>
              <a:gd name="connsiteX1" fmla="*/ 6165763 w 6165763"/>
              <a:gd name="connsiteY1" fmla="*/ 31361 h 6843848"/>
              <a:gd name="connsiteX2" fmla="*/ 3257868 w 6165763"/>
              <a:gd name="connsiteY2" fmla="*/ 6843848 h 6843848"/>
              <a:gd name="connsiteX3" fmla="*/ 0 w 6165763"/>
              <a:gd name="connsiteY3" fmla="*/ 0 h 6843848"/>
              <a:gd name="connsiteX0" fmla="*/ 0 w 6165763"/>
              <a:gd name="connsiteY0" fmla="*/ 0 h 6843848"/>
              <a:gd name="connsiteX1" fmla="*/ 6165763 w 6165763"/>
              <a:gd name="connsiteY1" fmla="*/ 31361 h 6843848"/>
              <a:gd name="connsiteX2" fmla="*/ 3257868 w 6165763"/>
              <a:gd name="connsiteY2" fmla="*/ 6843848 h 6843848"/>
              <a:gd name="connsiteX3" fmla="*/ 0 w 6165763"/>
              <a:gd name="connsiteY3" fmla="*/ 0 h 6843848"/>
              <a:gd name="connsiteX0" fmla="*/ 0 w 6165763"/>
              <a:gd name="connsiteY0" fmla="*/ 0 h 6833423"/>
              <a:gd name="connsiteX1" fmla="*/ 6165763 w 6165763"/>
              <a:gd name="connsiteY1" fmla="*/ 20936 h 6833423"/>
              <a:gd name="connsiteX2" fmla="*/ 3257868 w 6165763"/>
              <a:gd name="connsiteY2" fmla="*/ 6833423 h 6833423"/>
              <a:gd name="connsiteX3" fmla="*/ 0 w 6165763"/>
              <a:gd name="connsiteY3" fmla="*/ 0 h 6833423"/>
              <a:gd name="connsiteX0" fmla="*/ 0 w 6165763"/>
              <a:gd name="connsiteY0" fmla="*/ 0 h 6833423"/>
              <a:gd name="connsiteX1" fmla="*/ 6165763 w 6165763"/>
              <a:gd name="connsiteY1" fmla="*/ 20936 h 6833423"/>
              <a:gd name="connsiteX2" fmla="*/ 3257868 w 6165763"/>
              <a:gd name="connsiteY2" fmla="*/ 6833423 h 6833423"/>
              <a:gd name="connsiteX3" fmla="*/ 0 w 6165763"/>
              <a:gd name="connsiteY3" fmla="*/ 0 h 6833423"/>
            </a:gdLst>
            <a:ahLst/>
            <a:cxnLst>
              <a:cxn ang="0">
                <a:pos x="connsiteX0" y="connsiteY0"/>
              </a:cxn>
              <a:cxn ang="0">
                <a:pos x="connsiteX1" y="connsiteY1"/>
              </a:cxn>
              <a:cxn ang="0">
                <a:pos x="connsiteX2" y="connsiteY2"/>
              </a:cxn>
              <a:cxn ang="0">
                <a:pos x="connsiteX3" y="connsiteY3"/>
              </a:cxn>
            </a:cxnLst>
            <a:rect l="l" t="t" r="r" b="b"/>
            <a:pathLst>
              <a:path w="6165763" h="6833423">
                <a:moveTo>
                  <a:pt x="0" y="0"/>
                </a:moveTo>
                <a:cubicBezTo>
                  <a:pt x="6133268" y="34781"/>
                  <a:pt x="64026" y="17432"/>
                  <a:pt x="6165763" y="20936"/>
                </a:cubicBezTo>
                <a:cubicBezTo>
                  <a:pt x="3231031" y="6832234"/>
                  <a:pt x="4227166" y="4562594"/>
                  <a:pt x="3257868" y="6833423"/>
                </a:cubicBezTo>
                <a:cubicBezTo>
                  <a:pt x="-7232" y="-52592"/>
                  <a:pt x="3223060" y="6833887"/>
                  <a:pt x="0" y="0"/>
                </a:cubicBezTo>
                <a:close/>
              </a:path>
            </a:pathLst>
          </a:custGeom>
        </p:spPr>
        <p:txBody>
          <a:bodyPr/>
          <a:lstStyle/>
          <a:p>
            <a:r>
              <a:rPr lang="fi-FI"/>
              <a:t>Lisää kuva napsauttamalla kuvaketta</a:t>
            </a:r>
            <a:endParaRPr lang="fi-FI" dirty="0"/>
          </a:p>
        </p:txBody>
      </p:sp>
      <p:sp>
        <p:nvSpPr>
          <p:cNvPr id="29" name="Vapaamuotoinen: Muoto 28">
            <a:extLst>
              <a:ext uri="{FF2B5EF4-FFF2-40B4-BE49-F238E27FC236}">
                <a16:creationId xmlns:a16="http://schemas.microsoft.com/office/drawing/2014/main" id="{51083D49-F859-450D-987B-994D76BDF8A0}"/>
              </a:ext>
            </a:extLst>
          </p:cNvPr>
          <p:cNvSpPr/>
          <p:nvPr userDrawn="1"/>
        </p:nvSpPr>
        <p:spPr>
          <a:xfrm>
            <a:off x="351" y="0"/>
            <a:ext cx="3247345" cy="6875550"/>
          </a:xfrm>
          <a:custGeom>
            <a:avLst/>
            <a:gdLst>
              <a:gd name="connsiteX0" fmla="*/ 0 w 3087330"/>
              <a:gd name="connsiteY0" fmla="*/ 0 h 6921910"/>
              <a:gd name="connsiteX1" fmla="*/ 3087330 w 3087330"/>
              <a:gd name="connsiteY1" fmla="*/ 6921910 h 6921910"/>
              <a:gd name="connsiteX2" fmla="*/ 9833 w 3087330"/>
              <a:gd name="connsiteY2" fmla="*/ 6921910 h 6921910"/>
              <a:gd name="connsiteX3" fmla="*/ 0 w 3087330"/>
              <a:gd name="connsiteY3" fmla="*/ 0 h 6921910"/>
              <a:gd name="connsiteX0" fmla="*/ 1091 w 3088421"/>
              <a:gd name="connsiteY0" fmla="*/ 0 h 6921910"/>
              <a:gd name="connsiteX1" fmla="*/ 3088421 w 3088421"/>
              <a:gd name="connsiteY1" fmla="*/ 6921910 h 6921910"/>
              <a:gd name="connsiteX2" fmla="*/ 927 w 3088421"/>
              <a:gd name="connsiteY2" fmla="*/ 6921910 h 6921910"/>
              <a:gd name="connsiteX3" fmla="*/ 1091 w 3088421"/>
              <a:gd name="connsiteY3" fmla="*/ 0 h 6921910"/>
            </a:gdLst>
            <a:ahLst/>
            <a:cxnLst>
              <a:cxn ang="0">
                <a:pos x="connsiteX0" y="connsiteY0"/>
              </a:cxn>
              <a:cxn ang="0">
                <a:pos x="connsiteX1" y="connsiteY1"/>
              </a:cxn>
              <a:cxn ang="0">
                <a:pos x="connsiteX2" y="connsiteY2"/>
              </a:cxn>
              <a:cxn ang="0">
                <a:pos x="connsiteX3" y="connsiteY3"/>
              </a:cxn>
            </a:cxnLst>
            <a:rect l="l" t="t" r="r" b="b"/>
            <a:pathLst>
              <a:path w="3088421" h="6921910">
                <a:moveTo>
                  <a:pt x="1091" y="0"/>
                </a:moveTo>
                <a:lnTo>
                  <a:pt x="3088421" y="6921910"/>
                </a:lnTo>
                <a:lnTo>
                  <a:pt x="927" y="6921910"/>
                </a:lnTo>
                <a:cubicBezTo>
                  <a:pt x="-2351" y="4614607"/>
                  <a:pt x="4369" y="2307303"/>
                  <a:pt x="1091"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pic>
        <p:nvPicPr>
          <p:cNvPr id="3" name="Kuva 2">
            <a:extLst>
              <a:ext uri="{FF2B5EF4-FFF2-40B4-BE49-F238E27FC236}">
                <a16:creationId xmlns:a16="http://schemas.microsoft.com/office/drawing/2014/main" id="{9961E076-4605-47F2-A2AB-3CAFAB069F39}"/>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103065" y="5886000"/>
            <a:ext cx="3394285" cy="396000"/>
          </a:xfrm>
          <a:prstGeom prst="rect">
            <a:avLst/>
          </a:prstGeom>
        </p:spPr>
      </p:pic>
      <p:sp>
        <p:nvSpPr>
          <p:cNvPr id="14" name="Tekstin paikkamerkki 16">
            <a:extLst>
              <a:ext uri="{FF2B5EF4-FFF2-40B4-BE49-F238E27FC236}">
                <a16:creationId xmlns:a16="http://schemas.microsoft.com/office/drawing/2014/main" id="{F97E2AE8-71D9-4C16-A67B-3180FEAE544F}"/>
              </a:ext>
            </a:extLst>
          </p:cNvPr>
          <p:cNvSpPr>
            <a:spLocks noGrp="1"/>
          </p:cNvSpPr>
          <p:nvPr>
            <p:ph type="body" sz="quarter" idx="11" hasCustomPrompt="1"/>
          </p:nvPr>
        </p:nvSpPr>
        <p:spPr>
          <a:xfrm>
            <a:off x="6120000" y="4392000"/>
            <a:ext cx="5580000" cy="966788"/>
          </a:xfrm>
        </p:spPr>
        <p:txBody>
          <a:bodyPr/>
          <a:lstStyle>
            <a:lvl1pPr marL="0" indent="0">
              <a:lnSpc>
                <a:spcPct val="100000"/>
              </a:lnSpc>
              <a:spcBef>
                <a:spcPts val="0"/>
              </a:spcBef>
              <a:buNone/>
              <a:defRPr sz="2000">
                <a:solidFill>
                  <a:schemeClr val="accent1"/>
                </a:solidFill>
              </a:defRPr>
            </a:lvl1pPr>
            <a:lvl2pPr>
              <a:defRPr sz="2000"/>
            </a:lvl2pPr>
            <a:lvl3pPr>
              <a:defRPr sz="2000"/>
            </a:lvl3pPr>
            <a:lvl4pPr>
              <a:defRPr sz="2000"/>
            </a:lvl4pPr>
            <a:lvl5pPr>
              <a:defRPr sz="2000"/>
            </a:lvl5pPr>
          </a:lstStyle>
          <a:p>
            <a:pPr lvl="0"/>
            <a:r>
              <a:rPr lang="fi-FI" dirty="0"/>
              <a:t>Lisää tekstiä tarvittaessa, esimerkiksi oma Twitter-tunnisteesi</a:t>
            </a:r>
          </a:p>
        </p:txBody>
      </p:sp>
      <p:sp>
        <p:nvSpPr>
          <p:cNvPr id="5" name="Tekstiruutu 4">
            <a:extLst>
              <a:ext uri="{FF2B5EF4-FFF2-40B4-BE49-F238E27FC236}">
                <a16:creationId xmlns:a16="http://schemas.microsoft.com/office/drawing/2014/main" id="{5CB06F3E-97CB-4DF4-B2A1-B6A7A7CCC4B4}"/>
              </a:ext>
            </a:extLst>
          </p:cNvPr>
          <p:cNvSpPr txBox="1"/>
          <p:nvPr userDrawn="1"/>
        </p:nvSpPr>
        <p:spPr>
          <a:xfrm>
            <a:off x="6120000" y="2700000"/>
            <a:ext cx="5468983" cy="846386"/>
          </a:xfrm>
          <a:prstGeom prst="rect">
            <a:avLst/>
          </a:prstGeom>
          <a:noFill/>
        </p:spPr>
        <p:txBody>
          <a:bodyPr wrap="square" lIns="0" tIns="0" rIns="0" bIns="0" rtlCol="0">
            <a:spAutoFit/>
          </a:bodyPr>
          <a:lstStyle/>
          <a:p>
            <a:pPr algn="l"/>
            <a:r>
              <a:rPr lang="fi-FI" sz="5500" b="1" spc="20" baseline="0" dirty="0" err="1">
                <a:solidFill>
                  <a:schemeClr val="accent1"/>
                </a:solidFill>
              </a:rPr>
              <a:t>Thank</a:t>
            </a:r>
            <a:r>
              <a:rPr lang="fi-FI" sz="5500" b="1" spc="20" baseline="0" dirty="0">
                <a:solidFill>
                  <a:schemeClr val="accent1"/>
                </a:solidFill>
              </a:rPr>
              <a:t> </a:t>
            </a:r>
            <a:r>
              <a:rPr lang="fi-FI" sz="5500" b="1" spc="20" baseline="0" dirty="0" err="1">
                <a:solidFill>
                  <a:schemeClr val="accent1"/>
                </a:solidFill>
              </a:rPr>
              <a:t>you</a:t>
            </a:r>
            <a:r>
              <a:rPr lang="fi-FI" sz="5500" b="1" spc="20" baseline="0" dirty="0">
                <a:solidFill>
                  <a:schemeClr val="accent1"/>
                </a:solidFill>
              </a:rPr>
              <a:t>!</a:t>
            </a:r>
          </a:p>
        </p:txBody>
      </p:sp>
      <p:sp>
        <p:nvSpPr>
          <p:cNvPr id="6" name="Tekstiruutu 5">
            <a:extLst>
              <a:ext uri="{FF2B5EF4-FFF2-40B4-BE49-F238E27FC236}">
                <a16:creationId xmlns:a16="http://schemas.microsoft.com/office/drawing/2014/main" id="{38A2A49B-0CCE-4ED7-9471-689BA27AA065}"/>
              </a:ext>
            </a:extLst>
          </p:cNvPr>
          <p:cNvSpPr txBox="1"/>
          <p:nvPr userDrawn="1"/>
        </p:nvSpPr>
        <p:spPr>
          <a:xfrm>
            <a:off x="6120000" y="3960000"/>
            <a:ext cx="4666593" cy="40011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sz="2000" spc="20" baseline="0" dirty="0">
                <a:solidFill>
                  <a:schemeClr val="accent1"/>
                </a:solidFill>
              </a:rPr>
              <a:t>lvm.fi/en   Twitter: @lvmfi</a:t>
            </a:r>
          </a:p>
        </p:txBody>
      </p:sp>
    </p:spTree>
    <p:extLst>
      <p:ext uri="{BB962C8B-B14F-4D97-AF65-F5344CB8AC3E}">
        <p14:creationId xmlns:p14="http://schemas.microsoft.com/office/powerpoint/2010/main" val="1987276398"/>
      </p:ext>
    </p:extLst>
  </p:cSld>
  <p:clrMapOvr>
    <a:masterClrMapping/>
  </p:clrMapOvr>
  <p:extLst>
    <p:ext uri="{DCECCB84-F9BA-43D5-87BE-67443E8EF086}">
      <p15:sldGuideLst xmlns:p15="http://schemas.microsoft.com/office/powerpoint/2012/main">
        <p15:guide id="1" pos="1912" userDrawn="1">
          <p15:clr>
            <a:srgbClr val="FBAE40"/>
          </p15:clr>
        </p15:guide>
        <p15:guide id="2" pos="3863"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ksti ja kuva">
    <p:spTree>
      <p:nvGrpSpPr>
        <p:cNvPr id="1" name=""/>
        <p:cNvGrpSpPr/>
        <p:nvPr/>
      </p:nvGrpSpPr>
      <p:grpSpPr>
        <a:xfrm>
          <a:off x="0" y="0"/>
          <a:ext cx="0" cy="0"/>
          <a:chOff x="0" y="0"/>
          <a:chExt cx="0" cy="0"/>
        </a:xfrm>
      </p:grpSpPr>
      <p:graphicFrame>
        <p:nvGraphicFramePr>
          <p:cNvPr id="12" name="Objekti 11" hidden="1">
            <a:extLst>
              <a:ext uri="{FF2B5EF4-FFF2-40B4-BE49-F238E27FC236}">
                <a16:creationId xmlns:a16="http://schemas.microsoft.com/office/drawing/2014/main" id="{E007F484-58AB-4197-A32C-AA43CCF729D8}"/>
              </a:ext>
            </a:extLst>
          </p:cNvPr>
          <p:cNvGraphicFramePr>
            <a:graphicFrameLocks noChangeAspect="1"/>
          </p:cNvGraphicFramePr>
          <p:nvPr userDrawn="1">
            <p:custDataLst>
              <p:tags r:id="rId2"/>
            </p:custDataLst>
            <p:extLst>
              <p:ext uri="{D42A27DB-BD31-4B8C-83A1-F6EECF244321}">
                <p14:modId xmlns:p14="http://schemas.microsoft.com/office/powerpoint/2010/main" val="22322013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94" name="think-cell Slide" r:id="rId5" imgW="395" imgH="396" progId="TCLayout.ActiveDocument.1">
                  <p:embed/>
                </p:oleObj>
              </mc:Choice>
              <mc:Fallback>
                <p:oleObj name="think-cell Slide" r:id="rId5" imgW="395" imgH="396" progId="TCLayout.ActiveDocument.1">
                  <p:embed/>
                  <p:pic>
                    <p:nvPicPr>
                      <p:cNvPr id="12" name="Objekti 11" hidden="1">
                        <a:extLst>
                          <a:ext uri="{FF2B5EF4-FFF2-40B4-BE49-F238E27FC236}">
                            <a16:creationId xmlns:a16="http://schemas.microsoft.com/office/drawing/2014/main" id="{E007F484-58AB-4197-A32C-AA43CCF729D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Suorakulmio 10" hidden="1">
            <a:extLst>
              <a:ext uri="{FF2B5EF4-FFF2-40B4-BE49-F238E27FC236}">
                <a16:creationId xmlns:a16="http://schemas.microsoft.com/office/drawing/2014/main" id="{12B7A463-6E21-4391-89BF-0B0C96D1B800}"/>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i-FI" sz="3200" b="1" i="0" baseline="0" dirty="0">
              <a:latin typeface="Arial" panose="020B0604020202020204" pitchFamily="34" charset="0"/>
              <a:ea typeface="+mj-ea"/>
              <a:cs typeface="+mj-cs"/>
              <a:sym typeface="Arial" panose="020B0604020202020204" pitchFamily="34" charset="0"/>
            </a:endParaRPr>
          </a:p>
        </p:txBody>
      </p:sp>
      <p:sp>
        <p:nvSpPr>
          <p:cNvPr id="8" name="Kuvan paikkamerkki 7">
            <a:extLst>
              <a:ext uri="{FF2B5EF4-FFF2-40B4-BE49-F238E27FC236}">
                <a16:creationId xmlns:a16="http://schemas.microsoft.com/office/drawing/2014/main" id="{EE30280F-D683-4C1D-BA9C-E19DD9977BA2}"/>
              </a:ext>
            </a:extLst>
          </p:cNvPr>
          <p:cNvSpPr>
            <a:spLocks noGrp="1"/>
          </p:cNvSpPr>
          <p:nvPr>
            <p:ph type="pic" sz="quarter" idx="13"/>
          </p:nvPr>
        </p:nvSpPr>
        <p:spPr>
          <a:xfrm>
            <a:off x="6656388" y="0"/>
            <a:ext cx="5535612" cy="6867832"/>
          </a:xfrm>
          <a:custGeom>
            <a:avLst/>
            <a:gdLst>
              <a:gd name="connsiteX0" fmla="*/ 0 w 5535612"/>
              <a:gd name="connsiteY0" fmla="*/ 0 h 6858000"/>
              <a:gd name="connsiteX1" fmla="*/ 5535612 w 5535612"/>
              <a:gd name="connsiteY1" fmla="*/ 0 h 6858000"/>
              <a:gd name="connsiteX2" fmla="*/ 5535612 w 5535612"/>
              <a:gd name="connsiteY2" fmla="*/ 6858000 h 6858000"/>
              <a:gd name="connsiteX3" fmla="*/ 0 w 5535612"/>
              <a:gd name="connsiteY3" fmla="*/ 6858000 h 6858000"/>
              <a:gd name="connsiteX4" fmla="*/ 0 w 5535612"/>
              <a:gd name="connsiteY4" fmla="*/ 0 h 6858000"/>
              <a:gd name="connsiteX0" fmla="*/ 0 w 5535612"/>
              <a:gd name="connsiteY0" fmla="*/ 0 h 6867832"/>
              <a:gd name="connsiteX1" fmla="*/ 5535612 w 5535612"/>
              <a:gd name="connsiteY1" fmla="*/ 0 h 6867832"/>
              <a:gd name="connsiteX2" fmla="*/ 5535612 w 5535612"/>
              <a:gd name="connsiteY2" fmla="*/ 6858000 h 6867832"/>
              <a:gd name="connsiteX3" fmla="*/ 2674375 w 5535612"/>
              <a:gd name="connsiteY3" fmla="*/ 6867832 h 6867832"/>
              <a:gd name="connsiteX4" fmla="*/ 0 w 5535612"/>
              <a:gd name="connsiteY4" fmla="*/ 0 h 6867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5612" h="6867832">
                <a:moveTo>
                  <a:pt x="0" y="0"/>
                </a:moveTo>
                <a:lnTo>
                  <a:pt x="5535612" y="0"/>
                </a:lnTo>
                <a:lnTo>
                  <a:pt x="5535612" y="6858000"/>
                </a:lnTo>
                <a:lnTo>
                  <a:pt x="2674375" y="6867832"/>
                </a:lnTo>
                <a:lnTo>
                  <a:pt x="0" y="0"/>
                </a:lnTo>
                <a:close/>
              </a:path>
            </a:pathLst>
          </a:custGeom>
          <a:ln>
            <a:noFill/>
          </a:ln>
        </p:spPr>
        <p:style>
          <a:lnRef idx="2">
            <a:schemeClr val="accent1"/>
          </a:lnRef>
          <a:fillRef idx="1">
            <a:schemeClr val="lt1"/>
          </a:fillRef>
          <a:effectRef idx="0">
            <a:schemeClr val="accent1"/>
          </a:effectRef>
          <a:fontRef idx="minor">
            <a:schemeClr val="dk1"/>
          </a:fontRef>
        </p:style>
        <p:txBody>
          <a:bodyPr/>
          <a:lstStyle/>
          <a:p>
            <a:r>
              <a:rPr lang="fi-FI"/>
              <a:t>Lisää kuva napsauttamalla kuvaketta</a:t>
            </a:r>
          </a:p>
        </p:txBody>
      </p:sp>
      <p:sp>
        <p:nvSpPr>
          <p:cNvPr id="2" name="Otsikko 1">
            <a:extLst>
              <a:ext uri="{FF2B5EF4-FFF2-40B4-BE49-F238E27FC236}">
                <a16:creationId xmlns:a16="http://schemas.microsoft.com/office/drawing/2014/main" id="{0CF3911C-5FB4-48D1-A672-900DDF1A507B}"/>
              </a:ext>
            </a:extLst>
          </p:cNvPr>
          <p:cNvSpPr>
            <a:spLocks noGrp="1"/>
          </p:cNvSpPr>
          <p:nvPr>
            <p:ph type="title"/>
          </p:nvPr>
        </p:nvSpPr>
        <p:spPr>
          <a:xfrm>
            <a:off x="540000" y="360000"/>
            <a:ext cx="5580000" cy="972000"/>
          </a:xfrm>
        </p:spPr>
        <p:txBody>
          <a:bodyPr/>
          <a:lstStyle/>
          <a:p>
            <a:r>
              <a:rPr lang="fi-FI"/>
              <a:t>Muokkaa perustyyl. napsautt.</a:t>
            </a:r>
            <a:endParaRPr lang="fi-FI" dirty="0"/>
          </a:p>
        </p:txBody>
      </p:sp>
      <p:sp>
        <p:nvSpPr>
          <p:cNvPr id="9" name="Tekstin paikkamerkki 8">
            <a:extLst>
              <a:ext uri="{FF2B5EF4-FFF2-40B4-BE49-F238E27FC236}">
                <a16:creationId xmlns:a16="http://schemas.microsoft.com/office/drawing/2014/main" id="{4E5B7D8C-268D-4EE6-9D41-D4F69F76F58E}"/>
              </a:ext>
            </a:extLst>
          </p:cNvPr>
          <p:cNvSpPr>
            <a:spLocks noGrp="1"/>
          </p:cNvSpPr>
          <p:nvPr>
            <p:ph type="body" sz="quarter" idx="14"/>
          </p:nvPr>
        </p:nvSpPr>
        <p:spPr>
          <a:xfrm>
            <a:off x="540000" y="1692000"/>
            <a:ext cx="6315075" cy="4234681"/>
          </a:xfrm>
        </p:spPr>
        <p:txBody>
          <a:body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endParaRPr lang="fi-FI" dirty="0"/>
          </a:p>
        </p:txBody>
      </p:sp>
      <p:sp>
        <p:nvSpPr>
          <p:cNvPr id="6" name="Päivämäärän paikkamerkki 5">
            <a:extLst>
              <a:ext uri="{FF2B5EF4-FFF2-40B4-BE49-F238E27FC236}">
                <a16:creationId xmlns:a16="http://schemas.microsoft.com/office/drawing/2014/main" id="{AC6E5453-B29F-4A44-840C-205DD89FA019}"/>
              </a:ext>
            </a:extLst>
          </p:cNvPr>
          <p:cNvSpPr>
            <a:spLocks noGrp="1"/>
          </p:cNvSpPr>
          <p:nvPr>
            <p:ph type="dt" sz="half" idx="15"/>
          </p:nvPr>
        </p:nvSpPr>
        <p:spPr/>
        <p:txBody>
          <a:bodyPr/>
          <a:lstStyle/>
          <a:p>
            <a:fld id="{4CBB4192-9318-4B3B-B74F-5996198BFC81}" type="datetime1">
              <a:rPr lang="fi-FI" smtClean="0"/>
              <a:t>26.6.2023</a:t>
            </a:fld>
            <a:endParaRPr lang="fi-FI"/>
          </a:p>
        </p:txBody>
      </p:sp>
      <p:sp>
        <p:nvSpPr>
          <p:cNvPr id="7" name="Alatunnisteen paikkamerkki 6">
            <a:extLst>
              <a:ext uri="{FF2B5EF4-FFF2-40B4-BE49-F238E27FC236}">
                <a16:creationId xmlns:a16="http://schemas.microsoft.com/office/drawing/2014/main" id="{9DDFA1B2-D944-4541-8043-C0A93A45633E}"/>
              </a:ext>
            </a:extLst>
          </p:cNvPr>
          <p:cNvSpPr>
            <a:spLocks noGrp="1"/>
          </p:cNvSpPr>
          <p:nvPr>
            <p:ph type="ftr" sz="quarter" idx="16"/>
          </p:nvPr>
        </p:nvSpPr>
        <p:spPr/>
        <p:txBody>
          <a:bodyPr/>
          <a:lstStyle/>
          <a:p>
            <a:endParaRPr lang="fi-FI" dirty="0"/>
          </a:p>
        </p:txBody>
      </p:sp>
      <p:sp>
        <p:nvSpPr>
          <p:cNvPr id="10" name="Dian numeron paikkamerkki 9">
            <a:extLst>
              <a:ext uri="{FF2B5EF4-FFF2-40B4-BE49-F238E27FC236}">
                <a16:creationId xmlns:a16="http://schemas.microsoft.com/office/drawing/2014/main" id="{BD3AE10E-0A06-43D1-8F20-34E192A7E40D}"/>
              </a:ext>
            </a:extLst>
          </p:cNvPr>
          <p:cNvSpPr>
            <a:spLocks noGrp="1"/>
          </p:cNvSpPr>
          <p:nvPr>
            <p:ph type="sldNum" sz="quarter" idx="17"/>
          </p:nvPr>
        </p:nvSpPr>
        <p:spPr/>
        <p:txBody>
          <a:bodyPr/>
          <a:lstStyle/>
          <a:p>
            <a:fld id="{628F3778-6073-48C0-8E18-EFC09B82139A}" type="slidenum">
              <a:rPr lang="fi-FI" smtClean="0"/>
              <a:pPr/>
              <a:t>‹#›</a:t>
            </a:fld>
            <a:endParaRPr lang="fi-FI"/>
          </a:p>
        </p:txBody>
      </p:sp>
    </p:spTree>
    <p:extLst>
      <p:ext uri="{BB962C8B-B14F-4D97-AF65-F5344CB8AC3E}">
        <p14:creationId xmlns:p14="http://schemas.microsoft.com/office/powerpoint/2010/main" val="414185745"/>
      </p:ext>
    </p:extLst>
  </p:cSld>
  <p:clrMapOvr>
    <a:masterClrMapping/>
  </p:clrMapOvr>
  <p:extLst>
    <p:ext uri="{DCECCB84-F9BA-43D5-87BE-67443E8EF086}">
      <p15:sldGuideLst xmlns:p15="http://schemas.microsoft.com/office/powerpoint/2012/main">
        <p15:guide id="1" pos="4316"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Otsikkodia - ruotsi">
    <p:spTree>
      <p:nvGrpSpPr>
        <p:cNvPr id="1" name=""/>
        <p:cNvGrpSpPr/>
        <p:nvPr/>
      </p:nvGrpSpPr>
      <p:grpSpPr>
        <a:xfrm>
          <a:off x="0" y="0"/>
          <a:ext cx="0" cy="0"/>
          <a:chOff x="0" y="0"/>
          <a:chExt cx="0" cy="0"/>
        </a:xfrm>
      </p:grpSpPr>
      <p:graphicFrame>
        <p:nvGraphicFramePr>
          <p:cNvPr id="6" name="Objekti 5" hidden="1">
            <a:extLst>
              <a:ext uri="{FF2B5EF4-FFF2-40B4-BE49-F238E27FC236}">
                <a16:creationId xmlns:a16="http://schemas.microsoft.com/office/drawing/2014/main" id="{08F78A66-6EDB-43DD-BA94-8298663994BD}"/>
              </a:ext>
            </a:extLst>
          </p:cNvPr>
          <p:cNvGraphicFramePr>
            <a:graphicFrameLocks noChangeAspect="1"/>
          </p:cNvGraphicFramePr>
          <p:nvPr userDrawn="1">
            <p:custDataLst>
              <p:tags r:id="rId2"/>
            </p:custDataLst>
            <p:extLst>
              <p:ext uri="{D42A27DB-BD31-4B8C-83A1-F6EECF244321}">
                <p14:modId xmlns:p14="http://schemas.microsoft.com/office/powerpoint/2010/main" val="20487306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18" name="think-cell Slide" r:id="rId5" imgW="395" imgH="396" progId="TCLayout.ActiveDocument.1">
                  <p:embed/>
                </p:oleObj>
              </mc:Choice>
              <mc:Fallback>
                <p:oleObj name="think-cell Slide" r:id="rId5" imgW="395" imgH="396" progId="TCLayout.ActiveDocument.1">
                  <p:embed/>
                  <p:pic>
                    <p:nvPicPr>
                      <p:cNvPr id="6" name="Objekti 5" hidden="1">
                        <a:extLst>
                          <a:ext uri="{FF2B5EF4-FFF2-40B4-BE49-F238E27FC236}">
                            <a16:creationId xmlns:a16="http://schemas.microsoft.com/office/drawing/2014/main" id="{08F78A66-6EDB-43DD-BA94-8298663994B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Suorakulmio 3" hidden="1">
            <a:extLst>
              <a:ext uri="{FF2B5EF4-FFF2-40B4-BE49-F238E27FC236}">
                <a16:creationId xmlns:a16="http://schemas.microsoft.com/office/drawing/2014/main" id="{904E90E4-6FC3-4F62-9B69-B63289292FCC}"/>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i-FI" sz="4200" b="1" i="0" baseline="0" dirty="0">
              <a:latin typeface="Arial" panose="020B0604020202020204" pitchFamily="34" charset="0"/>
              <a:ea typeface="+mj-ea"/>
              <a:cs typeface="+mj-cs"/>
              <a:sym typeface="Arial" panose="020B0604020202020204" pitchFamily="34" charset="0"/>
            </a:endParaRPr>
          </a:p>
        </p:txBody>
      </p:sp>
      <p:sp>
        <p:nvSpPr>
          <p:cNvPr id="2" name="Otsikko 1">
            <a:extLst>
              <a:ext uri="{FF2B5EF4-FFF2-40B4-BE49-F238E27FC236}">
                <a16:creationId xmlns:a16="http://schemas.microsoft.com/office/drawing/2014/main" id="{A0E0CB56-3495-4C34-A152-2A6DF829887F}"/>
              </a:ext>
            </a:extLst>
          </p:cNvPr>
          <p:cNvSpPr>
            <a:spLocks noGrp="1"/>
          </p:cNvSpPr>
          <p:nvPr>
            <p:ph type="ctrTitle"/>
          </p:nvPr>
        </p:nvSpPr>
        <p:spPr>
          <a:xfrm>
            <a:off x="6120000" y="1684338"/>
            <a:ext cx="5580000" cy="1671648"/>
          </a:xfrm>
        </p:spPr>
        <p:txBody>
          <a:bodyPr anchor="b">
            <a:noAutofit/>
          </a:bodyPr>
          <a:lstStyle>
            <a:lvl1pPr algn="l">
              <a:lnSpc>
                <a:spcPct val="90000"/>
              </a:lnSpc>
              <a:defRPr sz="4200" baseline="0"/>
            </a:lvl1pPr>
          </a:lstStyle>
          <a:p>
            <a:r>
              <a:rPr lang="fi-FI"/>
              <a:t>Muokkaa perustyyl. napsautt.</a:t>
            </a:r>
            <a:endParaRPr lang="fi-FI" dirty="0"/>
          </a:p>
        </p:txBody>
      </p:sp>
      <p:sp>
        <p:nvSpPr>
          <p:cNvPr id="3" name="Alaotsikko 2">
            <a:extLst>
              <a:ext uri="{FF2B5EF4-FFF2-40B4-BE49-F238E27FC236}">
                <a16:creationId xmlns:a16="http://schemas.microsoft.com/office/drawing/2014/main" id="{8942C8DB-AC1A-44C6-8643-5202CDA31CAB}"/>
              </a:ext>
            </a:extLst>
          </p:cNvPr>
          <p:cNvSpPr>
            <a:spLocks noGrp="1"/>
          </p:cNvSpPr>
          <p:nvPr>
            <p:ph type="subTitle" idx="1"/>
          </p:nvPr>
        </p:nvSpPr>
        <p:spPr>
          <a:xfrm>
            <a:off x="6120000" y="3960000"/>
            <a:ext cx="4548000" cy="1090155"/>
          </a:xfrm>
        </p:spPr>
        <p:txBody>
          <a:bodyPr anchor="t" anchorCtr="0">
            <a:noAutofit/>
          </a:bodyPr>
          <a:lstStyle>
            <a:lvl1pPr marL="0" indent="0" algn="l">
              <a:spcBef>
                <a:spcPts val="0"/>
              </a:spcBef>
              <a:buNone/>
              <a:defRPr sz="20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a:t>Muokkaa alaotsikon perustyyliä napsautt.</a:t>
            </a:r>
            <a:endParaRPr lang="fi-FI" dirty="0"/>
          </a:p>
        </p:txBody>
      </p:sp>
      <p:pic>
        <p:nvPicPr>
          <p:cNvPr id="5" name="Kuva 4" descr="Kuva, joka sisältää kohteen piirtäminen&#10;&#10;Kuvaus luotu automaattisesti">
            <a:extLst>
              <a:ext uri="{FF2B5EF4-FFF2-40B4-BE49-F238E27FC236}">
                <a16:creationId xmlns:a16="http://schemas.microsoft.com/office/drawing/2014/main" id="{9F4A7CA4-4ED6-4FA1-A806-89CDFA01838C}"/>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084441" y="5868000"/>
            <a:ext cx="2885143" cy="396000"/>
          </a:xfrm>
          <a:prstGeom prst="rect">
            <a:avLst/>
          </a:prstGeom>
        </p:spPr>
      </p:pic>
      <p:sp>
        <p:nvSpPr>
          <p:cNvPr id="11" name="Kuvan paikkamerkki 27">
            <a:extLst>
              <a:ext uri="{FF2B5EF4-FFF2-40B4-BE49-F238E27FC236}">
                <a16:creationId xmlns:a16="http://schemas.microsoft.com/office/drawing/2014/main" id="{00DEB010-F5B7-4AFE-B25B-ED8658DAEE41}"/>
              </a:ext>
            </a:extLst>
          </p:cNvPr>
          <p:cNvSpPr>
            <a:spLocks noGrp="1"/>
          </p:cNvSpPr>
          <p:nvPr>
            <p:ph type="pic" sz="quarter" idx="10"/>
          </p:nvPr>
        </p:nvSpPr>
        <p:spPr>
          <a:xfrm>
            <a:off x="-21022" y="-21020"/>
            <a:ext cx="6165763" cy="6888830"/>
          </a:xfrm>
          <a:custGeom>
            <a:avLst/>
            <a:gdLst>
              <a:gd name="connsiteX0" fmla="*/ 0 w 6072188"/>
              <a:gd name="connsiteY0" fmla="*/ 0 h 6865717"/>
              <a:gd name="connsiteX1" fmla="*/ 6072188 w 6072188"/>
              <a:gd name="connsiteY1" fmla="*/ 0 h 6865717"/>
              <a:gd name="connsiteX2" fmla="*/ 6072188 w 6072188"/>
              <a:gd name="connsiteY2" fmla="*/ 6865717 h 6865717"/>
              <a:gd name="connsiteX3" fmla="*/ 0 w 6072188"/>
              <a:gd name="connsiteY3" fmla="*/ 6865717 h 6865717"/>
              <a:gd name="connsiteX4" fmla="*/ 0 w 6072188"/>
              <a:gd name="connsiteY4" fmla="*/ 0 h 6865717"/>
              <a:gd name="connsiteX0" fmla="*/ 0 w 6072188"/>
              <a:gd name="connsiteY0" fmla="*/ 0 h 6885382"/>
              <a:gd name="connsiteX1" fmla="*/ 6072188 w 6072188"/>
              <a:gd name="connsiteY1" fmla="*/ 0 h 6885382"/>
              <a:gd name="connsiteX2" fmla="*/ 6072188 w 6072188"/>
              <a:gd name="connsiteY2" fmla="*/ 6865717 h 6885382"/>
              <a:gd name="connsiteX3" fmla="*/ 3077497 w 6072188"/>
              <a:gd name="connsiteY3" fmla="*/ 6885382 h 6885382"/>
              <a:gd name="connsiteX4" fmla="*/ 0 w 6072188"/>
              <a:gd name="connsiteY4" fmla="*/ 0 h 6885382"/>
              <a:gd name="connsiteX0" fmla="*/ 0 w 6072188"/>
              <a:gd name="connsiteY0" fmla="*/ 0 h 6885382"/>
              <a:gd name="connsiteX1" fmla="*/ 6072188 w 6072188"/>
              <a:gd name="connsiteY1" fmla="*/ 0 h 6885382"/>
              <a:gd name="connsiteX2" fmla="*/ 3077497 w 6072188"/>
              <a:gd name="connsiteY2" fmla="*/ 6885382 h 6885382"/>
              <a:gd name="connsiteX3" fmla="*/ 0 w 6072188"/>
              <a:gd name="connsiteY3" fmla="*/ 0 h 6885382"/>
              <a:gd name="connsiteX0" fmla="*/ 0 w 6160678"/>
              <a:gd name="connsiteY0" fmla="*/ 9832 h 6895214"/>
              <a:gd name="connsiteX1" fmla="*/ 6160678 w 6160678"/>
              <a:gd name="connsiteY1" fmla="*/ 0 h 6895214"/>
              <a:gd name="connsiteX2" fmla="*/ 3077497 w 6160678"/>
              <a:gd name="connsiteY2" fmla="*/ 6895214 h 6895214"/>
              <a:gd name="connsiteX3" fmla="*/ 0 w 6160678"/>
              <a:gd name="connsiteY3" fmla="*/ 9832 h 6895214"/>
              <a:gd name="connsiteX0" fmla="*/ 0 w 6160678"/>
              <a:gd name="connsiteY0" fmla="*/ 9832 h 6875550"/>
              <a:gd name="connsiteX1" fmla="*/ 6160678 w 6160678"/>
              <a:gd name="connsiteY1" fmla="*/ 0 h 6875550"/>
              <a:gd name="connsiteX2" fmla="*/ 3126658 w 6160678"/>
              <a:gd name="connsiteY2" fmla="*/ 6875550 h 6875550"/>
              <a:gd name="connsiteX3" fmla="*/ 0 w 6160678"/>
              <a:gd name="connsiteY3" fmla="*/ 9832 h 6875550"/>
              <a:gd name="connsiteX0" fmla="*/ 0 w 6239336"/>
              <a:gd name="connsiteY0" fmla="*/ 0 h 6875550"/>
              <a:gd name="connsiteX1" fmla="*/ 6239336 w 6239336"/>
              <a:gd name="connsiteY1" fmla="*/ 0 h 6875550"/>
              <a:gd name="connsiteX2" fmla="*/ 3205316 w 6239336"/>
              <a:gd name="connsiteY2" fmla="*/ 6875550 h 6875550"/>
              <a:gd name="connsiteX3" fmla="*/ 0 w 6239336"/>
              <a:gd name="connsiteY3" fmla="*/ 0 h 6875550"/>
              <a:gd name="connsiteX0" fmla="*/ 0 w 6239336"/>
              <a:gd name="connsiteY0" fmla="*/ 0 h 6822998"/>
              <a:gd name="connsiteX1" fmla="*/ 6239336 w 6239336"/>
              <a:gd name="connsiteY1" fmla="*/ 0 h 6822998"/>
              <a:gd name="connsiteX2" fmla="*/ 3226337 w 6239336"/>
              <a:gd name="connsiteY2" fmla="*/ 6822998 h 6822998"/>
              <a:gd name="connsiteX3" fmla="*/ 0 w 6239336"/>
              <a:gd name="connsiteY3" fmla="*/ 0 h 6822998"/>
              <a:gd name="connsiteX0" fmla="*/ 0 w 6144743"/>
              <a:gd name="connsiteY0" fmla="*/ 0 h 6822998"/>
              <a:gd name="connsiteX1" fmla="*/ 6144743 w 6144743"/>
              <a:gd name="connsiteY1" fmla="*/ 10511 h 6822998"/>
              <a:gd name="connsiteX2" fmla="*/ 3226337 w 6144743"/>
              <a:gd name="connsiteY2" fmla="*/ 6822998 h 6822998"/>
              <a:gd name="connsiteX3" fmla="*/ 0 w 6144743"/>
              <a:gd name="connsiteY3" fmla="*/ 0 h 6822998"/>
              <a:gd name="connsiteX0" fmla="*/ 0 w 6134232"/>
              <a:gd name="connsiteY0" fmla="*/ 0 h 6822998"/>
              <a:gd name="connsiteX1" fmla="*/ 6134232 w 6134232"/>
              <a:gd name="connsiteY1" fmla="*/ 10511 h 6822998"/>
              <a:gd name="connsiteX2" fmla="*/ 3226337 w 6134232"/>
              <a:gd name="connsiteY2" fmla="*/ 6822998 h 6822998"/>
              <a:gd name="connsiteX3" fmla="*/ 0 w 6134232"/>
              <a:gd name="connsiteY3" fmla="*/ 0 h 6822998"/>
              <a:gd name="connsiteX0" fmla="*/ 0 w 6134232"/>
              <a:gd name="connsiteY0" fmla="*/ 0 h 6822998"/>
              <a:gd name="connsiteX1" fmla="*/ 6134232 w 6134232"/>
              <a:gd name="connsiteY1" fmla="*/ 10511 h 6822998"/>
              <a:gd name="connsiteX2" fmla="*/ 3226337 w 6134232"/>
              <a:gd name="connsiteY2" fmla="*/ 6822998 h 6822998"/>
              <a:gd name="connsiteX3" fmla="*/ 0 w 6134232"/>
              <a:gd name="connsiteY3" fmla="*/ 0 h 6822998"/>
              <a:gd name="connsiteX0" fmla="*/ 0 w 6134232"/>
              <a:gd name="connsiteY0" fmla="*/ 0 h 6822998"/>
              <a:gd name="connsiteX1" fmla="*/ 6134232 w 6134232"/>
              <a:gd name="connsiteY1" fmla="*/ 10511 h 6822998"/>
              <a:gd name="connsiteX2" fmla="*/ 3226337 w 6134232"/>
              <a:gd name="connsiteY2" fmla="*/ 6822998 h 6822998"/>
              <a:gd name="connsiteX3" fmla="*/ 0 w 6134232"/>
              <a:gd name="connsiteY3" fmla="*/ 0 h 6822998"/>
              <a:gd name="connsiteX0" fmla="*/ 0 w 6144742"/>
              <a:gd name="connsiteY0" fmla="*/ 0 h 6833423"/>
              <a:gd name="connsiteX1" fmla="*/ 6144742 w 6144742"/>
              <a:gd name="connsiteY1" fmla="*/ 20936 h 6833423"/>
              <a:gd name="connsiteX2" fmla="*/ 3236847 w 6144742"/>
              <a:gd name="connsiteY2" fmla="*/ 6833423 h 6833423"/>
              <a:gd name="connsiteX3" fmla="*/ 0 w 6144742"/>
              <a:gd name="connsiteY3" fmla="*/ 0 h 6833423"/>
              <a:gd name="connsiteX0" fmla="*/ 0 w 6144742"/>
              <a:gd name="connsiteY0" fmla="*/ 0 h 6833423"/>
              <a:gd name="connsiteX1" fmla="*/ 6144742 w 6144742"/>
              <a:gd name="connsiteY1" fmla="*/ 20936 h 6833423"/>
              <a:gd name="connsiteX2" fmla="*/ 3236847 w 6144742"/>
              <a:gd name="connsiteY2" fmla="*/ 6833423 h 6833423"/>
              <a:gd name="connsiteX3" fmla="*/ 0 w 6144742"/>
              <a:gd name="connsiteY3" fmla="*/ 0 h 6833423"/>
              <a:gd name="connsiteX0" fmla="*/ 0 w 6144742"/>
              <a:gd name="connsiteY0" fmla="*/ 0 h 6833423"/>
              <a:gd name="connsiteX1" fmla="*/ 6144742 w 6144742"/>
              <a:gd name="connsiteY1" fmla="*/ 20936 h 6833423"/>
              <a:gd name="connsiteX2" fmla="*/ 3236847 w 6144742"/>
              <a:gd name="connsiteY2" fmla="*/ 6833423 h 6833423"/>
              <a:gd name="connsiteX3" fmla="*/ 0 w 6144742"/>
              <a:gd name="connsiteY3" fmla="*/ 0 h 6833423"/>
              <a:gd name="connsiteX0" fmla="*/ 0 w 6144742"/>
              <a:gd name="connsiteY0" fmla="*/ 0 h 6843848"/>
              <a:gd name="connsiteX1" fmla="*/ 6144742 w 6144742"/>
              <a:gd name="connsiteY1" fmla="*/ 31361 h 6843848"/>
              <a:gd name="connsiteX2" fmla="*/ 3236847 w 6144742"/>
              <a:gd name="connsiteY2" fmla="*/ 6843848 h 6843848"/>
              <a:gd name="connsiteX3" fmla="*/ 0 w 6144742"/>
              <a:gd name="connsiteY3" fmla="*/ 0 h 6843848"/>
              <a:gd name="connsiteX0" fmla="*/ 0 w 6165763"/>
              <a:gd name="connsiteY0" fmla="*/ 0 h 6843848"/>
              <a:gd name="connsiteX1" fmla="*/ 6165763 w 6165763"/>
              <a:gd name="connsiteY1" fmla="*/ 31361 h 6843848"/>
              <a:gd name="connsiteX2" fmla="*/ 3257868 w 6165763"/>
              <a:gd name="connsiteY2" fmla="*/ 6843848 h 6843848"/>
              <a:gd name="connsiteX3" fmla="*/ 0 w 6165763"/>
              <a:gd name="connsiteY3" fmla="*/ 0 h 6843848"/>
              <a:gd name="connsiteX0" fmla="*/ 0 w 6165763"/>
              <a:gd name="connsiteY0" fmla="*/ 0 h 6843848"/>
              <a:gd name="connsiteX1" fmla="*/ 6165763 w 6165763"/>
              <a:gd name="connsiteY1" fmla="*/ 31361 h 6843848"/>
              <a:gd name="connsiteX2" fmla="*/ 3257868 w 6165763"/>
              <a:gd name="connsiteY2" fmla="*/ 6843848 h 6843848"/>
              <a:gd name="connsiteX3" fmla="*/ 0 w 6165763"/>
              <a:gd name="connsiteY3" fmla="*/ 0 h 6843848"/>
              <a:gd name="connsiteX0" fmla="*/ 0 w 6165763"/>
              <a:gd name="connsiteY0" fmla="*/ 0 h 6843848"/>
              <a:gd name="connsiteX1" fmla="*/ 6165763 w 6165763"/>
              <a:gd name="connsiteY1" fmla="*/ 31361 h 6843848"/>
              <a:gd name="connsiteX2" fmla="*/ 3257868 w 6165763"/>
              <a:gd name="connsiteY2" fmla="*/ 6843848 h 6843848"/>
              <a:gd name="connsiteX3" fmla="*/ 0 w 6165763"/>
              <a:gd name="connsiteY3" fmla="*/ 0 h 6843848"/>
              <a:gd name="connsiteX0" fmla="*/ 0 w 6165763"/>
              <a:gd name="connsiteY0" fmla="*/ 0 h 6843848"/>
              <a:gd name="connsiteX1" fmla="*/ 6165763 w 6165763"/>
              <a:gd name="connsiteY1" fmla="*/ 31361 h 6843848"/>
              <a:gd name="connsiteX2" fmla="*/ 3257868 w 6165763"/>
              <a:gd name="connsiteY2" fmla="*/ 6843848 h 6843848"/>
              <a:gd name="connsiteX3" fmla="*/ 0 w 6165763"/>
              <a:gd name="connsiteY3" fmla="*/ 0 h 6843848"/>
              <a:gd name="connsiteX0" fmla="*/ 0 w 6165763"/>
              <a:gd name="connsiteY0" fmla="*/ 0 h 6833423"/>
              <a:gd name="connsiteX1" fmla="*/ 6165763 w 6165763"/>
              <a:gd name="connsiteY1" fmla="*/ 20936 h 6833423"/>
              <a:gd name="connsiteX2" fmla="*/ 3257868 w 6165763"/>
              <a:gd name="connsiteY2" fmla="*/ 6833423 h 6833423"/>
              <a:gd name="connsiteX3" fmla="*/ 0 w 6165763"/>
              <a:gd name="connsiteY3" fmla="*/ 0 h 6833423"/>
              <a:gd name="connsiteX0" fmla="*/ 0 w 6165763"/>
              <a:gd name="connsiteY0" fmla="*/ 0 h 6833423"/>
              <a:gd name="connsiteX1" fmla="*/ 6165763 w 6165763"/>
              <a:gd name="connsiteY1" fmla="*/ 20936 h 6833423"/>
              <a:gd name="connsiteX2" fmla="*/ 3257868 w 6165763"/>
              <a:gd name="connsiteY2" fmla="*/ 6833423 h 6833423"/>
              <a:gd name="connsiteX3" fmla="*/ 0 w 6165763"/>
              <a:gd name="connsiteY3" fmla="*/ 0 h 6833423"/>
            </a:gdLst>
            <a:ahLst/>
            <a:cxnLst>
              <a:cxn ang="0">
                <a:pos x="connsiteX0" y="connsiteY0"/>
              </a:cxn>
              <a:cxn ang="0">
                <a:pos x="connsiteX1" y="connsiteY1"/>
              </a:cxn>
              <a:cxn ang="0">
                <a:pos x="connsiteX2" y="connsiteY2"/>
              </a:cxn>
              <a:cxn ang="0">
                <a:pos x="connsiteX3" y="connsiteY3"/>
              </a:cxn>
            </a:cxnLst>
            <a:rect l="l" t="t" r="r" b="b"/>
            <a:pathLst>
              <a:path w="6165763" h="6833423">
                <a:moveTo>
                  <a:pt x="0" y="0"/>
                </a:moveTo>
                <a:cubicBezTo>
                  <a:pt x="6133268" y="34781"/>
                  <a:pt x="64026" y="17432"/>
                  <a:pt x="6165763" y="20936"/>
                </a:cubicBezTo>
                <a:cubicBezTo>
                  <a:pt x="3231031" y="6832234"/>
                  <a:pt x="4227166" y="4562594"/>
                  <a:pt x="3257868" y="6833423"/>
                </a:cubicBezTo>
                <a:cubicBezTo>
                  <a:pt x="-7232" y="-52592"/>
                  <a:pt x="3223060" y="6833887"/>
                  <a:pt x="0" y="0"/>
                </a:cubicBezTo>
                <a:close/>
              </a:path>
            </a:pathLst>
          </a:custGeom>
        </p:spPr>
        <p:txBody>
          <a:bodyPr/>
          <a:lstStyle/>
          <a:p>
            <a:r>
              <a:rPr lang="fi-FI"/>
              <a:t>Lisää kuva napsauttamalla kuvaketta</a:t>
            </a:r>
          </a:p>
        </p:txBody>
      </p:sp>
      <p:sp>
        <p:nvSpPr>
          <p:cNvPr id="12" name="Vapaamuotoinen: Muoto 11">
            <a:extLst>
              <a:ext uri="{FF2B5EF4-FFF2-40B4-BE49-F238E27FC236}">
                <a16:creationId xmlns:a16="http://schemas.microsoft.com/office/drawing/2014/main" id="{8F398C1A-DF87-4D61-B03C-31FC69B2D58E}"/>
              </a:ext>
            </a:extLst>
          </p:cNvPr>
          <p:cNvSpPr/>
          <p:nvPr userDrawn="1"/>
        </p:nvSpPr>
        <p:spPr>
          <a:xfrm>
            <a:off x="351" y="0"/>
            <a:ext cx="3247345" cy="6875550"/>
          </a:xfrm>
          <a:custGeom>
            <a:avLst/>
            <a:gdLst>
              <a:gd name="connsiteX0" fmla="*/ 0 w 3087330"/>
              <a:gd name="connsiteY0" fmla="*/ 0 h 6921910"/>
              <a:gd name="connsiteX1" fmla="*/ 3087330 w 3087330"/>
              <a:gd name="connsiteY1" fmla="*/ 6921910 h 6921910"/>
              <a:gd name="connsiteX2" fmla="*/ 9833 w 3087330"/>
              <a:gd name="connsiteY2" fmla="*/ 6921910 h 6921910"/>
              <a:gd name="connsiteX3" fmla="*/ 0 w 3087330"/>
              <a:gd name="connsiteY3" fmla="*/ 0 h 6921910"/>
              <a:gd name="connsiteX0" fmla="*/ 1091 w 3088421"/>
              <a:gd name="connsiteY0" fmla="*/ 0 h 6921910"/>
              <a:gd name="connsiteX1" fmla="*/ 3088421 w 3088421"/>
              <a:gd name="connsiteY1" fmla="*/ 6921910 h 6921910"/>
              <a:gd name="connsiteX2" fmla="*/ 927 w 3088421"/>
              <a:gd name="connsiteY2" fmla="*/ 6921910 h 6921910"/>
              <a:gd name="connsiteX3" fmla="*/ 1091 w 3088421"/>
              <a:gd name="connsiteY3" fmla="*/ 0 h 6921910"/>
            </a:gdLst>
            <a:ahLst/>
            <a:cxnLst>
              <a:cxn ang="0">
                <a:pos x="connsiteX0" y="connsiteY0"/>
              </a:cxn>
              <a:cxn ang="0">
                <a:pos x="connsiteX1" y="connsiteY1"/>
              </a:cxn>
              <a:cxn ang="0">
                <a:pos x="connsiteX2" y="connsiteY2"/>
              </a:cxn>
              <a:cxn ang="0">
                <a:pos x="connsiteX3" y="connsiteY3"/>
              </a:cxn>
            </a:cxnLst>
            <a:rect l="l" t="t" r="r" b="b"/>
            <a:pathLst>
              <a:path w="3088421" h="6921910">
                <a:moveTo>
                  <a:pt x="1091" y="0"/>
                </a:moveTo>
                <a:lnTo>
                  <a:pt x="3088421" y="6921910"/>
                </a:lnTo>
                <a:lnTo>
                  <a:pt x="927" y="6921910"/>
                </a:lnTo>
                <a:cubicBezTo>
                  <a:pt x="-2351" y="4614607"/>
                  <a:pt x="4369" y="2307303"/>
                  <a:pt x="1091"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Tree>
    <p:extLst>
      <p:ext uri="{BB962C8B-B14F-4D97-AF65-F5344CB8AC3E}">
        <p14:creationId xmlns:p14="http://schemas.microsoft.com/office/powerpoint/2010/main" val="1287050740"/>
      </p:ext>
    </p:extLst>
  </p:cSld>
  <p:clrMapOvr>
    <a:masterClrMapping/>
  </p:clrMapOvr>
  <p:extLst>
    <p:ext uri="{DCECCB84-F9BA-43D5-87BE-67443E8EF086}">
      <p15:sldGuideLst xmlns:p15="http://schemas.microsoft.com/office/powerpoint/2012/main">
        <p15:guide id="1" pos="1912">
          <p15:clr>
            <a:srgbClr val="FBAE40"/>
          </p15:clr>
        </p15:guide>
        <p15:guide id="2" pos="386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Otsikkodia - englanti">
    <p:spTree>
      <p:nvGrpSpPr>
        <p:cNvPr id="1" name=""/>
        <p:cNvGrpSpPr/>
        <p:nvPr/>
      </p:nvGrpSpPr>
      <p:grpSpPr>
        <a:xfrm>
          <a:off x="0" y="0"/>
          <a:ext cx="0" cy="0"/>
          <a:chOff x="0" y="0"/>
          <a:chExt cx="0" cy="0"/>
        </a:xfrm>
      </p:grpSpPr>
      <p:graphicFrame>
        <p:nvGraphicFramePr>
          <p:cNvPr id="5" name="Objekti 4" hidden="1">
            <a:extLst>
              <a:ext uri="{FF2B5EF4-FFF2-40B4-BE49-F238E27FC236}">
                <a16:creationId xmlns:a16="http://schemas.microsoft.com/office/drawing/2014/main" id="{1775F9A7-438D-40EB-88E3-022EEEDF07E1}"/>
              </a:ext>
            </a:extLst>
          </p:cNvPr>
          <p:cNvGraphicFramePr>
            <a:graphicFrameLocks noChangeAspect="1"/>
          </p:cNvGraphicFramePr>
          <p:nvPr userDrawn="1">
            <p:custDataLst>
              <p:tags r:id="rId2"/>
            </p:custDataLst>
            <p:extLst>
              <p:ext uri="{D42A27DB-BD31-4B8C-83A1-F6EECF244321}">
                <p14:modId xmlns:p14="http://schemas.microsoft.com/office/powerpoint/2010/main" val="27080441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42" name="think-cell Slide" r:id="rId5" imgW="395" imgH="396" progId="TCLayout.ActiveDocument.1">
                  <p:embed/>
                </p:oleObj>
              </mc:Choice>
              <mc:Fallback>
                <p:oleObj name="think-cell Slide" r:id="rId5" imgW="395" imgH="396" progId="TCLayout.ActiveDocument.1">
                  <p:embed/>
                  <p:pic>
                    <p:nvPicPr>
                      <p:cNvPr id="5" name="Objekti 4" hidden="1">
                        <a:extLst>
                          <a:ext uri="{FF2B5EF4-FFF2-40B4-BE49-F238E27FC236}">
                            <a16:creationId xmlns:a16="http://schemas.microsoft.com/office/drawing/2014/main" id="{1775F9A7-438D-40EB-88E3-022EEEDF07E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Suorakulmio 3" hidden="1">
            <a:extLst>
              <a:ext uri="{FF2B5EF4-FFF2-40B4-BE49-F238E27FC236}">
                <a16:creationId xmlns:a16="http://schemas.microsoft.com/office/drawing/2014/main" id="{07AEF138-DC4F-4E65-BEF8-6BB6CE1407D2}"/>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i-FI" sz="4200" b="1" i="0" baseline="0" dirty="0">
              <a:latin typeface="Arial" panose="020B0604020202020204" pitchFamily="34" charset="0"/>
              <a:ea typeface="+mj-ea"/>
              <a:cs typeface="+mj-cs"/>
              <a:sym typeface="Arial" panose="020B0604020202020204" pitchFamily="34" charset="0"/>
            </a:endParaRPr>
          </a:p>
        </p:txBody>
      </p:sp>
      <p:sp>
        <p:nvSpPr>
          <p:cNvPr id="2" name="Otsikko 1">
            <a:extLst>
              <a:ext uri="{FF2B5EF4-FFF2-40B4-BE49-F238E27FC236}">
                <a16:creationId xmlns:a16="http://schemas.microsoft.com/office/drawing/2014/main" id="{A0E0CB56-3495-4C34-A152-2A6DF829887F}"/>
              </a:ext>
            </a:extLst>
          </p:cNvPr>
          <p:cNvSpPr>
            <a:spLocks noGrp="1"/>
          </p:cNvSpPr>
          <p:nvPr>
            <p:ph type="ctrTitle"/>
          </p:nvPr>
        </p:nvSpPr>
        <p:spPr>
          <a:xfrm>
            <a:off x="6120000" y="1684338"/>
            <a:ext cx="5580000" cy="1671648"/>
          </a:xfrm>
        </p:spPr>
        <p:txBody>
          <a:bodyPr anchor="b">
            <a:noAutofit/>
          </a:bodyPr>
          <a:lstStyle>
            <a:lvl1pPr algn="l">
              <a:lnSpc>
                <a:spcPct val="90000"/>
              </a:lnSpc>
              <a:defRPr sz="4200" baseline="0"/>
            </a:lvl1pPr>
          </a:lstStyle>
          <a:p>
            <a:r>
              <a:rPr lang="fi-FI"/>
              <a:t>Muokkaa perustyyl. napsautt.</a:t>
            </a:r>
            <a:endParaRPr lang="fi-FI" dirty="0"/>
          </a:p>
        </p:txBody>
      </p:sp>
      <p:sp>
        <p:nvSpPr>
          <p:cNvPr id="3" name="Alaotsikko 2">
            <a:extLst>
              <a:ext uri="{FF2B5EF4-FFF2-40B4-BE49-F238E27FC236}">
                <a16:creationId xmlns:a16="http://schemas.microsoft.com/office/drawing/2014/main" id="{8942C8DB-AC1A-44C6-8643-5202CDA31CAB}"/>
              </a:ext>
            </a:extLst>
          </p:cNvPr>
          <p:cNvSpPr>
            <a:spLocks noGrp="1"/>
          </p:cNvSpPr>
          <p:nvPr>
            <p:ph type="subTitle" idx="1"/>
          </p:nvPr>
        </p:nvSpPr>
        <p:spPr>
          <a:xfrm>
            <a:off x="6120000" y="3960000"/>
            <a:ext cx="4548000" cy="1090155"/>
          </a:xfrm>
        </p:spPr>
        <p:txBody>
          <a:bodyPr anchor="t" anchorCtr="0">
            <a:noAutofit/>
          </a:bodyPr>
          <a:lstStyle>
            <a:lvl1pPr marL="0" indent="0" algn="l">
              <a:spcBef>
                <a:spcPts val="0"/>
              </a:spcBef>
              <a:buNone/>
              <a:defRPr sz="20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a:t>Muokkaa alaotsikon perustyyliä napsautt.</a:t>
            </a:r>
            <a:endParaRPr lang="fi-FI" dirty="0"/>
          </a:p>
        </p:txBody>
      </p:sp>
      <p:pic>
        <p:nvPicPr>
          <p:cNvPr id="6" name="Kuva 5">
            <a:extLst>
              <a:ext uri="{FF2B5EF4-FFF2-40B4-BE49-F238E27FC236}">
                <a16:creationId xmlns:a16="http://schemas.microsoft.com/office/drawing/2014/main" id="{075F315D-BAFC-4A17-A399-B77A8A231699}"/>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099681" y="5868000"/>
            <a:ext cx="3394286" cy="396000"/>
          </a:xfrm>
          <a:prstGeom prst="rect">
            <a:avLst/>
          </a:prstGeom>
        </p:spPr>
      </p:pic>
      <p:sp>
        <p:nvSpPr>
          <p:cNvPr id="11" name="Kuvan paikkamerkki 27">
            <a:extLst>
              <a:ext uri="{FF2B5EF4-FFF2-40B4-BE49-F238E27FC236}">
                <a16:creationId xmlns:a16="http://schemas.microsoft.com/office/drawing/2014/main" id="{84402215-6AC6-4A31-86F4-BA0772630FA3}"/>
              </a:ext>
            </a:extLst>
          </p:cNvPr>
          <p:cNvSpPr>
            <a:spLocks noGrp="1"/>
          </p:cNvSpPr>
          <p:nvPr>
            <p:ph type="pic" sz="quarter" idx="10"/>
          </p:nvPr>
        </p:nvSpPr>
        <p:spPr>
          <a:xfrm>
            <a:off x="-21022" y="-21020"/>
            <a:ext cx="6165763" cy="6888830"/>
          </a:xfrm>
          <a:custGeom>
            <a:avLst/>
            <a:gdLst>
              <a:gd name="connsiteX0" fmla="*/ 0 w 6072188"/>
              <a:gd name="connsiteY0" fmla="*/ 0 h 6865717"/>
              <a:gd name="connsiteX1" fmla="*/ 6072188 w 6072188"/>
              <a:gd name="connsiteY1" fmla="*/ 0 h 6865717"/>
              <a:gd name="connsiteX2" fmla="*/ 6072188 w 6072188"/>
              <a:gd name="connsiteY2" fmla="*/ 6865717 h 6865717"/>
              <a:gd name="connsiteX3" fmla="*/ 0 w 6072188"/>
              <a:gd name="connsiteY3" fmla="*/ 6865717 h 6865717"/>
              <a:gd name="connsiteX4" fmla="*/ 0 w 6072188"/>
              <a:gd name="connsiteY4" fmla="*/ 0 h 6865717"/>
              <a:gd name="connsiteX0" fmla="*/ 0 w 6072188"/>
              <a:gd name="connsiteY0" fmla="*/ 0 h 6885382"/>
              <a:gd name="connsiteX1" fmla="*/ 6072188 w 6072188"/>
              <a:gd name="connsiteY1" fmla="*/ 0 h 6885382"/>
              <a:gd name="connsiteX2" fmla="*/ 6072188 w 6072188"/>
              <a:gd name="connsiteY2" fmla="*/ 6865717 h 6885382"/>
              <a:gd name="connsiteX3" fmla="*/ 3077497 w 6072188"/>
              <a:gd name="connsiteY3" fmla="*/ 6885382 h 6885382"/>
              <a:gd name="connsiteX4" fmla="*/ 0 w 6072188"/>
              <a:gd name="connsiteY4" fmla="*/ 0 h 6885382"/>
              <a:gd name="connsiteX0" fmla="*/ 0 w 6072188"/>
              <a:gd name="connsiteY0" fmla="*/ 0 h 6885382"/>
              <a:gd name="connsiteX1" fmla="*/ 6072188 w 6072188"/>
              <a:gd name="connsiteY1" fmla="*/ 0 h 6885382"/>
              <a:gd name="connsiteX2" fmla="*/ 3077497 w 6072188"/>
              <a:gd name="connsiteY2" fmla="*/ 6885382 h 6885382"/>
              <a:gd name="connsiteX3" fmla="*/ 0 w 6072188"/>
              <a:gd name="connsiteY3" fmla="*/ 0 h 6885382"/>
              <a:gd name="connsiteX0" fmla="*/ 0 w 6160678"/>
              <a:gd name="connsiteY0" fmla="*/ 9832 h 6895214"/>
              <a:gd name="connsiteX1" fmla="*/ 6160678 w 6160678"/>
              <a:gd name="connsiteY1" fmla="*/ 0 h 6895214"/>
              <a:gd name="connsiteX2" fmla="*/ 3077497 w 6160678"/>
              <a:gd name="connsiteY2" fmla="*/ 6895214 h 6895214"/>
              <a:gd name="connsiteX3" fmla="*/ 0 w 6160678"/>
              <a:gd name="connsiteY3" fmla="*/ 9832 h 6895214"/>
              <a:gd name="connsiteX0" fmla="*/ 0 w 6160678"/>
              <a:gd name="connsiteY0" fmla="*/ 9832 h 6875550"/>
              <a:gd name="connsiteX1" fmla="*/ 6160678 w 6160678"/>
              <a:gd name="connsiteY1" fmla="*/ 0 h 6875550"/>
              <a:gd name="connsiteX2" fmla="*/ 3126658 w 6160678"/>
              <a:gd name="connsiteY2" fmla="*/ 6875550 h 6875550"/>
              <a:gd name="connsiteX3" fmla="*/ 0 w 6160678"/>
              <a:gd name="connsiteY3" fmla="*/ 9832 h 6875550"/>
              <a:gd name="connsiteX0" fmla="*/ 0 w 6239336"/>
              <a:gd name="connsiteY0" fmla="*/ 0 h 6875550"/>
              <a:gd name="connsiteX1" fmla="*/ 6239336 w 6239336"/>
              <a:gd name="connsiteY1" fmla="*/ 0 h 6875550"/>
              <a:gd name="connsiteX2" fmla="*/ 3205316 w 6239336"/>
              <a:gd name="connsiteY2" fmla="*/ 6875550 h 6875550"/>
              <a:gd name="connsiteX3" fmla="*/ 0 w 6239336"/>
              <a:gd name="connsiteY3" fmla="*/ 0 h 6875550"/>
              <a:gd name="connsiteX0" fmla="*/ 0 w 6239336"/>
              <a:gd name="connsiteY0" fmla="*/ 0 h 6822998"/>
              <a:gd name="connsiteX1" fmla="*/ 6239336 w 6239336"/>
              <a:gd name="connsiteY1" fmla="*/ 0 h 6822998"/>
              <a:gd name="connsiteX2" fmla="*/ 3226337 w 6239336"/>
              <a:gd name="connsiteY2" fmla="*/ 6822998 h 6822998"/>
              <a:gd name="connsiteX3" fmla="*/ 0 w 6239336"/>
              <a:gd name="connsiteY3" fmla="*/ 0 h 6822998"/>
              <a:gd name="connsiteX0" fmla="*/ 0 w 6144743"/>
              <a:gd name="connsiteY0" fmla="*/ 0 h 6822998"/>
              <a:gd name="connsiteX1" fmla="*/ 6144743 w 6144743"/>
              <a:gd name="connsiteY1" fmla="*/ 10511 h 6822998"/>
              <a:gd name="connsiteX2" fmla="*/ 3226337 w 6144743"/>
              <a:gd name="connsiteY2" fmla="*/ 6822998 h 6822998"/>
              <a:gd name="connsiteX3" fmla="*/ 0 w 6144743"/>
              <a:gd name="connsiteY3" fmla="*/ 0 h 6822998"/>
              <a:gd name="connsiteX0" fmla="*/ 0 w 6134232"/>
              <a:gd name="connsiteY0" fmla="*/ 0 h 6822998"/>
              <a:gd name="connsiteX1" fmla="*/ 6134232 w 6134232"/>
              <a:gd name="connsiteY1" fmla="*/ 10511 h 6822998"/>
              <a:gd name="connsiteX2" fmla="*/ 3226337 w 6134232"/>
              <a:gd name="connsiteY2" fmla="*/ 6822998 h 6822998"/>
              <a:gd name="connsiteX3" fmla="*/ 0 w 6134232"/>
              <a:gd name="connsiteY3" fmla="*/ 0 h 6822998"/>
              <a:gd name="connsiteX0" fmla="*/ 0 w 6134232"/>
              <a:gd name="connsiteY0" fmla="*/ 0 h 6822998"/>
              <a:gd name="connsiteX1" fmla="*/ 6134232 w 6134232"/>
              <a:gd name="connsiteY1" fmla="*/ 10511 h 6822998"/>
              <a:gd name="connsiteX2" fmla="*/ 3226337 w 6134232"/>
              <a:gd name="connsiteY2" fmla="*/ 6822998 h 6822998"/>
              <a:gd name="connsiteX3" fmla="*/ 0 w 6134232"/>
              <a:gd name="connsiteY3" fmla="*/ 0 h 6822998"/>
              <a:gd name="connsiteX0" fmla="*/ 0 w 6134232"/>
              <a:gd name="connsiteY0" fmla="*/ 0 h 6822998"/>
              <a:gd name="connsiteX1" fmla="*/ 6134232 w 6134232"/>
              <a:gd name="connsiteY1" fmla="*/ 10511 h 6822998"/>
              <a:gd name="connsiteX2" fmla="*/ 3226337 w 6134232"/>
              <a:gd name="connsiteY2" fmla="*/ 6822998 h 6822998"/>
              <a:gd name="connsiteX3" fmla="*/ 0 w 6134232"/>
              <a:gd name="connsiteY3" fmla="*/ 0 h 6822998"/>
              <a:gd name="connsiteX0" fmla="*/ 0 w 6144742"/>
              <a:gd name="connsiteY0" fmla="*/ 0 h 6833423"/>
              <a:gd name="connsiteX1" fmla="*/ 6144742 w 6144742"/>
              <a:gd name="connsiteY1" fmla="*/ 20936 h 6833423"/>
              <a:gd name="connsiteX2" fmla="*/ 3236847 w 6144742"/>
              <a:gd name="connsiteY2" fmla="*/ 6833423 h 6833423"/>
              <a:gd name="connsiteX3" fmla="*/ 0 w 6144742"/>
              <a:gd name="connsiteY3" fmla="*/ 0 h 6833423"/>
              <a:gd name="connsiteX0" fmla="*/ 0 w 6144742"/>
              <a:gd name="connsiteY0" fmla="*/ 0 h 6833423"/>
              <a:gd name="connsiteX1" fmla="*/ 6144742 w 6144742"/>
              <a:gd name="connsiteY1" fmla="*/ 20936 h 6833423"/>
              <a:gd name="connsiteX2" fmla="*/ 3236847 w 6144742"/>
              <a:gd name="connsiteY2" fmla="*/ 6833423 h 6833423"/>
              <a:gd name="connsiteX3" fmla="*/ 0 w 6144742"/>
              <a:gd name="connsiteY3" fmla="*/ 0 h 6833423"/>
              <a:gd name="connsiteX0" fmla="*/ 0 w 6144742"/>
              <a:gd name="connsiteY0" fmla="*/ 0 h 6833423"/>
              <a:gd name="connsiteX1" fmla="*/ 6144742 w 6144742"/>
              <a:gd name="connsiteY1" fmla="*/ 20936 h 6833423"/>
              <a:gd name="connsiteX2" fmla="*/ 3236847 w 6144742"/>
              <a:gd name="connsiteY2" fmla="*/ 6833423 h 6833423"/>
              <a:gd name="connsiteX3" fmla="*/ 0 w 6144742"/>
              <a:gd name="connsiteY3" fmla="*/ 0 h 6833423"/>
              <a:gd name="connsiteX0" fmla="*/ 0 w 6144742"/>
              <a:gd name="connsiteY0" fmla="*/ 0 h 6843848"/>
              <a:gd name="connsiteX1" fmla="*/ 6144742 w 6144742"/>
              <a:gd name="connsiteY1" fmla="*/ 31361 h 6843848"/>
              <a:gd name="connsiteX2" fmla="*/ 3236847 w 6144742"/>
              <a:gd name="connsiteY2" fmla="*/ 6843848 h 6843848"/>
              <a:gd name="connsiteX3" fmla="*/ 0 w 6144742"/>
              <a:gd name="connsiteY3" fmla="*/ 0 h 6843848"/>
              <a:gd name="connsiteX0" fmla="*/ 0 w 6165763"/>
              <a:gd name="connsiteY0" fmla="*/ 0 h 6843848"/>
              <a:gd name="connsiteX1" fmla="*/ 6165763 w 6165763"/>
              <a:gd name="connsiteY1" fmla="*/ 31361 h 6843848"/>
              <a:gd name="connsiteX2" fmla="*/ 3257868 w 6165763"/>
              <a:gd name="connsiteY2" fmla="*/ 6843848 h 6843848"/>
              <a:gd name="connsiteX3" fmla="*/ 0 w 6165763"/>
              <a:gd name="connsiteY3" fmla="*/ 0 h 6843848"/>
              <a:gd name="connsiteX0" fmla="*/ 0 w 6165763"/>
              <a:gd name="connsiteY0" fmla="*/ 0 h 6843848"/>
              <a:gd name="connsiteX1" fmla="*/ 6165763 w 6165763"/>
              <a:gd name="connsiteY1" fmla="*/ 31361 h 6843848"/>
              <a:gd name="connsiteX2" fmla="*/ 3257868 w 6165763"/>
              <a:gd name="connsiteY2" fmla="*/ 6843848 h 6843848"/>
              <a:gd name="connsiteX3" fmla="*/ 0 w 6165763"/>
              <a:gd name="connsiteY3" fmla="*/ 0 h 6843848"/>
              <a:gd name="connsiteX0" fmla="*/ 0 w 6165763"/>
              <a:gd name="connsiteY0" fmla="*/ 0 h 6843848"/>
              <a:gd name="connsiteX1" fmla="*/ 6165763 w 6165763"/>
              <a:gd name="connsiteY1" fmla="*/ 31361 h 6843848"/>
              <a:gd name="connsiteX2" fmla="*/ 3257868 w 6165763"/>
              <a:gd name="connsiteY2" fmla="*/ 6843848 h 6843848"/>
              <a:gd name="connsiteX3" fmla="*/ 0 w 6165763"/>
              <a:gd name="connsiteY3" fmla="*/ 0 h 6843848"/>
              <a:gd name="connsiteX0" fmla="*/ 0 w 6165763"/>
              <a:gd name="connsiteY0" fmla="*/ 0 h 6843848"/>
              <a:gd name="connsiteX1" fmla="*/ 6165763 w 6165763"/>
              <a:gd name="connsiteY1" fmla="*/ 31361 h 6843848"/>
              <a:gd name="connsiteX2" fmla="*/ 3257868 w 6165763"/>
              <a:gd name="connsiteY2" fmla="*/ 6843848 h 6843848"/>
              <a:gd name="connsiteX3" fmla="*/ 0 w 6165763"/>
              <a:gd name="connsiteY3" fmla="*/ 0 h 6843848"/>
              <a:gd name="connsiteX0" fmla="*/ 0 w 6165763"/>
              <a:gd name="connsiteY0" fmla="*/ 0 h 6833423"/>
              <a:gd name="connsiteX1" fmla="*/ 6165763 w 6165763"/>
              <a:gd name="connsiteY1" fmla="*/ 20936 h 6833423"/>
              <a:gd name="connsiteX2" fmla="*/ 3257868 w 6165763"/>
              <a:gd name="connsiteY2" fmla="*/ 6833423 h 6833423"/>
              <a:gd name="connsiteX3" fmla="*/ 0 w 6165763"/>
              <a:gd name="connsiteY3" fmla="*/ 0 h 6833423"/>
              <a:gd name="connsiteX0" fmla="*/ 0 w 6165763"/>
              <a:gd name="connsiteY0" fmla="*/ 0 h 6833423"/>
              <a:gd name="connsiteX1" fmla="*/ 6165763 w 6165763"/>
              <a:gd name="connsiteY1" fmla="*/ 20936 h 6833423"/>
              <a:gd name="connsiteX2" fmla="*/ 3257868 w 6165763"/>
              <a:gd name="connsiteY2" fmla="*/ 6833423 h 6833423"/>
              <a:gd name="connsiteX3" fmla="*/ 0 w 6165763"/>
              <a:gd name="connsiteY3" fmla="*/ 0 h 6833423"/>
            </a:gdLst>
            <a:ahLst/>
            <a:cxnLst>
              <a:cxn ang="0">
                <a:pos x="connsiteX0" y="connsiteY0"/>
              </a:cxn>
              <a:cxn ang="0">
                <a:pos x="connsiteX1" y="connsiteY1"/>
              </a:cxn>
              <a:cxn ang="0">
                <a:pos x="connsiteX2" y="connsiteY2"/>
              </a:cxn>
              <a:cxn ang="0">
                <a:pos x="connsiteX3" y="connsiteY3"/>
              </a:cxn>
            </a:cxnLst>
            <a:rect l="l" t="t" r="r" b="b"/>
            <a:pathLst>
              <a:path w="6165763" h="6833423">
                <a:moveTo>
                  <a:pt x="0" y="0"/>
                </a:moveTo>
                <a:cubicBezTo>
                  <a:pt x="6133268" y="34781"/>
                  <a:pt x="64026" y="17432"/>
                  <a:pt x="6165763" y="20936"/>
                </a:cubicBezTo>
                <a:cubicBezTo>
                  <a:pt x="3231031" y="6832234"/>
                  <a:pt x="4227166" y="4562594"/>
                  <a:pt x="3257868" y="6833423"/>
                </a:cubicBezTo>
                <a:cubicBezTo>
                  <a:pt x="-7232" y="-52592"/>
                  <a:pt x="3223060" y="6833887"/>
                  <a:pt x="0" y="0"/>
                </a:cubicBezTo>
                <a:close/>
              </a:path>
            </a:pathLst>
          </a:custGeom>
        </p:spPr>
        <p:txBody>
          <a:bodyPr/>
          <a:lstStyle/>
          <a:p>
            <a:r>
              <a:rPr lang="fi-FI"/>
              <a:t>Lisää kuva napsauttamalla kuvaketta</a:t>
            </a:r>
          </a:p>
        </p:txBody>
      </p:sp>
      <p:sp>
        <p:nvSpPr>
          <p:cNvPr id="12" name="Vapaamuotoinen: Muoto 11">
            <a:extLst>
              <a:ext uri="{FF2B5EF4-FFF2-40B4-BE49-F238E27FC236}">
                <a16:creationId xmlns:a16="http://schemas.microsoft.com/office/drawing/2014/main" id="{25D75359-5C42-4AFB-A0B2-9C9301613CC9}"/>
              </a:ext>
            </a:extLst>
          </p:cNvPr>
          <p:cNvSpPr/>
          <p:nvPr userDrawn="1"/>
        </p:nvSpPr>
        <p:spPr>
          <a:xfrm>
            <a:off x="351" y="0"/>
            <a:ext cx="3247345" cy="6875550"/>
          </a:xfrm>
          <a:custGeom>
            <a:avLst/>
            <a:gdLst>
              <a:gd name="connsiteX0" fmla="*/ 0 w 3087330"/>
              <a:gd name="connsiteY0" fmla="*/ 0 h 6921910"/>
              <a:gd name="connsiteX1" fmla="*/ 3087330 w 3087330"/>
              <a:gd name="connsiteY1" fmla="*/ 6921910 h 6921910"/>
              <a:gd name="connsiteX2" fmla="*/ 9833 w 3087330"/>
              <a:gd name="connsiteY2" fmla="*/ 6921910 h 6921910"/>
              <a:gd name="connsiteX3" fmla="*/ 0 w 3087330"/>
              <a:gd name="connsiteY3" fmla="*/ 0 h 6921910"/>
              <a:gd name="connsiteX0" fmla="*/ 1091 w 3088421"/>
              <a:gd name="connsiteY0" fmla="*/ 0 h 6921910"/>
              <a:gd name="connsiteX1" fmla="*/ 3088421 w 3088421"/>
              <a:gd name="connsiteY1" fmla="*/ 6921910 h 6921910"/>
              <a:gd name="connsiteX2" fmla="*/ 927 w 3088421"/>
              <a:gd name="connsiteY2" fmla="*/ 6921910 h 6921910"/>
              <a:gd name="connsiteX3" fmla="*/ 1091 w 3088421"/>
              <a:gd name="connsiteY3" fmla="*/ 0 h 6921910"/>
            </a:gdLst>
            <a:ahLst/>
            <a:cxnLst>
              <a:cxn ang="0">
                <a:pos x="connsiteX0" y="connsiteY0"/>
              </a:cxn>
              <a:cxn ang="0">
                <a:pos x="connsiteX1" y="connsiteY1"/>
              </a:cxn>
              <a:cxn ang="0">
                <a:pos x="connsiteX2" y="connsiteY2"/>
              </a:cxn>
              <a:cxn ang="0">
                <a:pos x="connsiteX3" y="connsiteY3"/>
              </a:cxn>
            </a:cxnLst>
            <a:rect l="l" t="t" r="r" b="b"/>
            <a:pathLst>
              <a:path w="3088421" h="6921910">
                <a:moveTo>
                  <a:pt x="1091" y="0"/>
                </a:moveTo>
                <a:lnTo>
                  <a:pt x="3088421" y="6921910"/>
                </a:lnTo>
                <a:lnTo>
                  <a:pt x="927" y="6921910"/>
                </a:lnTo>
                <a:cubicBezTo>
                  <a:pt x="-2351" y="4614607"/>
                  <a:pt x="4369" y="2307303"/>
                  <a:pt x="1091"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Tree>
    <p:extLst>
      <p:ext uri="{BB962C8B-B14F-4D97-AF65-F5344CB8AC3E}">
        <p14:creationId xmlns:p14="http://schemas.microsoft.com/office/powerpoint/2010/main" val="3294291072"/>
      </p:ext>
    </p:extLst>
  </p:cSld>
  <p:clrMapOvr>
    <a:masterClrMapping/>
  </p:clrMapOvr>
  <p:extLst>
    <p:ext uri="{DCECCB84-F9BA-43D5-87BE-67443E8EF086}">
      <p15:sldGuideLst xmlns:p15="http://schemas.microsoft.com/office/powerpoint/2012/main">
        <p15:guide id="1" pos="1912">
          <p15:clr>
            <a:srgbClr val="FBAE40"/>
          </p15:clr>
        </p15:guide>
        <p15:guide id="2" pos="3863">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ksti ja kapea kuva">
    <p:spTree>
      <p:nvGrpSpPr>
        <p:cNvPr id="1" name=""/>
        <p:cNvGrpSpPr/>
        <p:nvPr/>
      </p:nvGrpSpPr>
      <p:grpSpPr>
        <a:xfrm>
          <a:off x="0" y="0"/>
          <a:ext cx="0" cy="0"/>
          <a:chOff x="0" y="0"/>
          <a:chExt cx="0" cy="0"/>
        </a:xfrm>
      </p:grpSpPr>
      <p:graphicFrame>
        <p:nvGraphicFramePr>
          <p:cNvPr id="7" name="Objekti 6" hidden="1">
            <a:extLst>
              <a:ext uri="{FF2B5EF4-FFF2-40B4-BE49-F238E27FC236}">
                <a16:creationId xmlns:a16="http://schemas.microsoft.com/office/drawing/2014/main" id="{C3BA4035-6220-4369-A76C-FB533DDAEC47}"/>
              </a:ext>
            </a:extLst>
          </p:cNvPr>
          <p:cNvGraphicFramePr>
            <a:graphicFrameLocks noChangeAspect="1"/>
          </p:cNvGraphicFramePr>
          <p:nvPr userDrawn="1">
            <p:custDataLst>
              <p:tags r:id="rId2"/>
            </p:custDataLst>
            <p:extLst>
              <p:ext uri="{D42A27DB-BD31-4B8C-83A1-F6EECF244321}">
                <p14:modId xmlns:p14="http://schemas.microsoft.com/office/powerpoint/2010/main" val="8914917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66" name="think-cell Slide" r:id="rId5" imgW="395" imgH="396" progId="TCLayout.ActiveDocument.1">
                  <p:embed/>
                </p:oleObj>
              </mc:Choice>
              <mc:Fallback>
                <p:oleObj name="think-cell Slide" r:id="rId5" imgW="395" imgH="396" progId="TCLayout.ActiveDocument.1">
                  <p:embed/>
                  <p:pic>
                    <p:nvPicPr>
                      <p:cNvPr id="7" name="Objekti 6" hidden="1">
                        <a:extLst>
                          <a:ext uri="{FF2B5EF4-FFF2-40B4-BE49-F238E27FC236}">
                            <a16:creationId xmlns:a16="http://schemas.microsoft.com/office/drawing/2014/main" id="{C3BA4035-6220-4369-A76C-FB533DDAEC4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Suorakulmio 5" hidden="1">
            <a:extLst>
              <a:ext uri="{FF2B5EF4-FFF2-40B4-BE49-F238E27FC236}">
                <a16:creationId xmlns:a16="http://schemas.microsoft.com/office/drawing/2014/main" id="{BC77A103-0051-479A-9849-2F36F002AF23}"/>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i-FI" sz="3200" b="1" i="0" baseline="0" dirty="0">
              <a:latin typeface="Arial" panose="020B0604020202020204" pitchFamily="34" charset="0"/>
              <a:ea typeface="+mj-ea"/>
              <a:cs typeface="+mj-cs"/>
              <a:sym typeface="Arial" panose="020B0604020202020204" pitchFamily="34" charset="0"/>
            </a:endParaRPr>
          </a:p>
        </p:txBody>
      </p:sp>
      <p:sp>
        <p:nvSpPr>
          <p:cNvPr id="2" name="Otsikko 1">
            <a:extLst>
              <a:ext uri="{FF2B5EF4-FFF2-40B4-BE49-F238E27FC236}">
                <a16:creationId xmlns:a16="http://schemas.microsoft.com/office/drawing/2014/main" id="{0CF3911C-5FB4-48D1-A672-900DDF1A507B}"/>
              </a:ext>
            </a:extLst>
          </p:cNvPr>
          <p:cNvSpPr>
            <a:spLocks noGrp="1"/>
          </p:cNvSpPr>
          <p:nvPr>
            <p:ph type="title"/>
          </p:nvPr>
        </p:nvSpPr>
        <p:spPr>
          <a:xfrm>
            <a:off x="540000" y="360000"/>
            <a:ext cx="9000000" cy="972000"/>
          </a:xfrm>
        </p:spPr>
        <p:txBody>
          <a:bodyPr/>
          <a:lstStyle/>
          <a:p>
            <a:r>
              <a:rPr lang="fi-FI"/>
              <a:t>Muokkaa perustyyl. napsautt.</a:t>
            </a:r>
            <a:endParaRPr lang="fi-FI" dirty="0"/>
          </a:p>
        </p:txBody>
      </p:sp>
      <p:sp>
        <p:nvSpPr>
          <p:cNvPr id="8" name="Kuvan paikkamerkki 7">
            <a:extLst>
              <a:ext uri="{FF2B5EF4-FFF2-40B4-BE49-F238E27FC236}">
                <a16:creationId xmlns:a16="http://schemas.microsoft.com/office/drawing/2014/main" id="{EE30280F-D683-4C1D-BA9C-E19DD9977BA2}"/>
              </a:ext>
            </a:extLst>
          </p:cNvPr>
          <p:cNvSpPr>
            <a:spLocks noGrp="1"/>
          </p:cNvSpPr>
          <p:nvPr>
            <p:ph type="pic" sz="quarter" idx="13"/>
          </p:nvPr>
        </p:nvSpPr>
        <p:spPr>
          <a:xfrm>
            <a:off x="9330763" y="0"/>
            <a:ext cx="2861237" cy="6867832"/>
          </a:xfrm>
          <a:custGeom>
            <a:avLst/>
            <a:gdLst>
              <a:gd name="connsiteX0" fmla="*/ 0 w 5535612"/>
              <a:gd name="connsiteY0" fmla="*/ 0 h 6858000"/>
              <a:gd name="connsiteX1" fmla="*/ 5535612 w 5535612"/>
              <a:gd name="connsiteY1" fmla="*/ 0 h 6858000"/>
              <a:gd name="connsiteX2" fmla="*/ 5535612 w 5535612"/>
              <a:gd name="connsiteY2" fmla="*/ 6858000 h 6858000"/>
              <a:gd name="connsiteX3" fmla="*/ 0 w 5535612"/>
              <a:gd name="connsiteY3" fmla="*/ 6858000 h 6858000"/>
              <a:gd name="connsiteX4" fmla="*/ 0 w 5535612"/>
              <a:gd name="connsiteY4" fmla="*/ 0 h 6858000"/>
              <a:gd name="connsiteX0" fmla="*/ 0 w 5535612"/>
              <a:gd name="connsiteY0" fmla="*/ 0 h 6867832"/>
              <a:gd name="connsiteX1" fmla="*/ 5535612 w 5535612"/>
              <a:gd name="connsiteY1" fmla="*/ 0 h 6867832"/>
              <a:gd name="connsiteX2" fmla="*/ 5535612 w 5535612"/>
              <a:gd name="connsiteY2" fmla="*/ 6858000 h 6867832"/>
              <a:gd name="connsiteX3" fmla="*/ 2674375 w 5535612"/>
              <a:gd name="connsiteY3" fmla="*/ 6867832 h 6867832"/>
              <a:gd name="connsiteX4" fmla="*/ 0 w 5535612"/>
              <a:gd name="connsiteY4" fmla="*/ 0 h 6867832"/>
              <a:gd name="connsiteX0" fmla="*/ 0 w 2861237"/>
              <a:gd name="connsiteY0" fmla="*/ 6867832 h 6867832"/>
              <a:gd name="connsiteX1" fmla="*/ 2861237 w 2861237"/>
              <a:gd name="connsiteY1" fmla="*/ 0 h 6867832"/>
              <a:gd name="connsiteX2" fmla="*/ 2861237 w 2861237"/>
              <a:gd name="connsiteY2" fmla="*/ 6858000 h 6867832"/>
              <a:gd name="connsiteX3" fmla="*/ 0 w 2861237"/>
              <a:gd name="connsiteY3" fmla="*/ 6867832 h 6867832"/>
              <a:gd name="connsiteX0" fmla="*/ 0 w 2861237"/>
              <a:gd name="connsiteY0" fmla="*/ 6867832 h 6867832"/>
              <a:gd name="connsiteX1" fmla="*/ 2861237 w 2861237"/>
              <a:gd name="connsiteY1" fmla="*/ 0 h 6867832"/>
              <a:gd name="connsiteX2" fmla="*/ 2861237 w 2861237"/>
              <a:gd name="connsiteY2" fmla="*/ 6858000 h 6867832"/>
              <a:gd name="connsiteX3" fmla="*/ 0 w 2861237"/>
              <a:gd name="connsiteY3" fmla="*/ 6867832 h 6867832"/>
              <a:gd name="connsiteX0" fmla="*/ 0 w 2861237"/>
              <a:gd name="connsiteY0" fmla="*/ 6867832 h 6867832"/>
              <a:gd name="connsiteX1" fmla="*/ 2861237 w 2861237"/>
              <a:gd name="connsiteY1" fmla="*/ 0 h 6867832"/>
              <a:gd name="connsiteX2" fmla="*/ 2861237 w 2861237"/>
              <a:gd name="connsiteY2" fmla="*/ 6858000 h 6867832"/>
              <a:gd name="connsiteX3" fmla="*/ 0 w 2861237"/>
              <a:gd name="connsiteY3" fmla="*/ 6867832 h 6867832"/>
              <a:gd name="connsiteX0" fmla="*/ 0 w 2861237"/>
              <a:gd name="connsiteY0" fmla="*/ 6867832 h 6867832"/>
              <a:gd name="connsiteX1" fmla="*/ 2861237 w 2861237"/>
              <a:gd name="connsiteY1" fmla="*/ 0 h 6867832"/>
              <a:gd name="connsiteX2" fmla="*/ 2861237 w 2861237"/>
              <a:gd name="connsiteY2" fmla="*/ 6858000 h 6867832"/>
              <a:gd name="connsiteX3" fmla="*/ 0 w 2861237"/>
              <a:gd name="connsiteY3" fmla="*/ 6867832 h 6867832"/>
            </a:gdLst>
            <a:ahLst/>
            <a:cxnLst>
              <a:cxn ang="0">
                <a:pos x="connsiteX0" y="connsiteY0"/>
              </a:cxn>
              <a:cxn ang="0">
                <a:pos x="connsiteX1" y="connsiteY1"/>
              </a:cxn>
              <a:cxn ang="0">
                <a:pos x="connsiteX2" y="connsiteY2"/>
              </a:cxn>
              <a:cxn ang="0">
                <a:pos x="connsiteX3" y="connsiteY3"/>
              </a:cxn>
            </a:cxnLst>
            <a:rect l="l" t="t" r="r" b="b"/>
            <a:pathLst>
              <a:path w="2861237" h="6867832">
                <a:moveTo>
                  <a:pt x="0" y="6867832"/>
                </a:moveTo>
                <a:lnTo>
                  <a:pt x="2861237" y="0"/>
                </a:lnTo>
                <a:lnTo>
                  <a:pt x="2861237" y="6858000"/>
                </a:lnTo>
                <a:cubicBezTo>
                  <a:pt x="1907491" y="6861277"/>
                  <a:pt x="2851371" y="6844891"/>
                  <a:pt x="0" y="6867832"/>
                </a:cubicBezTo>
                <a:close/>
              </a:path>
            </a:pathLst>
          </a:custGeom>
          <a:ln>
            <a:noFill/>
          </a:ln>
        </p:spPr>
        <p:style>
          <a:lnRef idx="2">
            <a:schemeClr val="accent1"/>
          </a:lnRef>
          <a:fillRef idx="1">
            <a:schemeClr val="lt1"/>
          </a:fillRef>
          <a:effectRef idx="0">
            <a:schemeClr val="accent1"/>
          </a:effectRef>
          <a:fontRef idx="minor">
            <a:schemeClr val="dk1"/>
          </a:fontRef>
        </p:style>
        <p:txBody>
          <a:bodyPr/>
          <a:lstStyle>
            <a:lvl1pPr>
              <a:defRPr/>
            </a:lvl1pPr>
          </a:lstStyle>
          <a:p>
            <a:r>
              <a:rPr lang="fi-FI"/>
              <a:t>Lisää kuva napsauttamalla kuvaketta</a:t>
            </a:r>
            <a:endParaRPr lang="fi-FI" dirty="0"/>
          </a:p>
        </p:txBody>
      </p:sp>
      <p:sp>
        <p:nvSpPr>
          <p:cNvPr id="10" name="Tekstin paikkamerkki 9">
            <a:extLst>
              <a:ext uri="{FF2B5EF4-FFF2-40B4-BE49-F238E27FC236}">
                <a16:creationId xmlns:a16="http://schemas.microsoft.com/office/drawing/2014/main" id="{61B67D3F-C7F8-4CD4-BFBF-7741C4FB5C1C}"/>
              </a:ext>
            </a:extLst>
          </p:cNvPr>
          <p:cNvSpPr>
            <a:spLocks noGrp="1"/>
          </p:cNvSpPr>
          <p:nvPr>
            <p:ph type="body" sz="quarter" idx="14"/>
          </p:nvPr>
        </p:nvSpPr>
        <p:spPr>
          <a:xfrm>
            <a:off x="540000" y="1692000"/>
            <a:ext cx="8999538" cy="4343400"/>
          </a:xfrm>
        </p:spPr>
        <p:txBody>
          <a:body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endParaRPr lang="fi-FI" dirty="0"/>
          </a:p>
        </p:txBody>
      </p:sp>
      <p:sp>
        <p:nvSpPr>
          <p:cNvPr id="3" name="Päivämäärän paikkamerkki 2">
            <a:extLst>
              <a:ext uri="{FF2B5EF4-FFF2-40B4-BE49-F238E27FC236}">
                <a16:creationId xmlns:a16="http://schemas.microsoft.com/office/drawing/2014/main" id="{0CAC1CF6-61E1-438C-BCA1-DFDBD397C7EE}"/>
              </a:ext>
            </a:extLst>
          </p:cNvPr>
          <p:cNvSpPr>
            <a:spLocks noGrp="1"/>
          </p:cNvSpPr>
          <p:nvPr>
            <p:ph type="dt" sz="half" idx="15"/>
          </p:nvPr>
        </p:nvSpPr>
        <p:spPr/>
        <p:txBody>
          <a:bodyPr/>
          <a:lstStyle/>
          <a:p>
            <a:fld id="{CF41500E-4E84-4B90-98DC-C47374230753}" type="datetime1">
              <a:rPr lang="fi-FI" smtClean="0"/>
              <a:t>26.6.2023</a:t>
            </a:fld>
            <a:endParaRPr lang="fi-FI" dirty="0"/>
          </a:p>
        </p:txBody>
      </p:sp>
      <p:sp>
        <p:nvSpPr>
          <p:cNvPr id="4" name="Alatunnisteen paikkamerkki 3">
            <a:extLst>
              <a:ext uri="{FF2B5EF4-FFF2-40B4-BE49-F238E27FC236}">
                <a16:creationId xmlns:a16="http://schemas.microsoft.com/office/drawing/2014/main" id="{8D929283-EBEA-4C7A-A9AB-D452D558076D}"/>
              </a:ext>
            </a:extLst>
          </p:cNvPr>
          <p:cNvSpPr>
            <a:spLocks noGrp="1"/>
          </p:cNvSpPr>
          <p:nvPr>
            <p:ph type="ftr" sz="quarter" idx="16"/>
          </p:nvPr>
        </p:nvSpPr>
        <p:spPr/>
        <p:txBody>
          <a:bodyPr/>
          <a:lstStyle/>
          <a:p>
            <a:endParaRPr lang="fi-FI" dirty="0"/>
          </a:p>
        </p:txBody>
      </p:sp>
      <p:sp>
        <p:nvSpPr>
          <p:cNvPr id="5" name="Dian numeron paikkamerkki 4">
            <a:extLst>
              <a:ext uri="{FF2B5EF4-FFF2-40B4-BE49-F238E27FC236}">
                <a16:creationId xmlns:a16="http://schemas.microsoft.com/office/drawing/2014/main" id="{4D9CB206-E3DA-4C62-92B5-871FD76C223C}"/>
              </a:ext>
            </a:extLst>
          </p:cNvPr>
          <p:cNvSpPr>
            <a:spLocks noGrp="1"/>
          </p:cNvSpPr>
          <p:nvPr>
            <p:ph type="sldNum" sz="quarter" idx="17"/>
          </p:nvPr>
        </p:nvSpPr>
        <p:spPr/>
        <p:txBody>
          <a:bodyPr/>
          <a:lstStyle/>
          <a:p>
            <a:fld id="{628F3778-6073-48C0-8E18-EFC09B82139A}" type="slidenum">
              <a:rPr lang="fi-FI" smtClean="0"/>
              <a:pPr/>
              <a:t>‹#›</a:t>
            </a:fld>
            <a:endParaRPr lang="fi-FI"/>
          </a:p>
        </p:txBody>
      </p:sp>
    </p:spTree>
    <p:extLst>
      <p:ext uri="{BB962C8B-B14F-4D97-AF65-F5344CB8AC3E}">
        <p14:creationId xmlns:p14="http://schemas.microsoft.com/office/powerpoint/2010/main" val="38930532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so kuva ja kuvateksti">
    <p:spTree>
      <p:nvGrpSpPr>
        <p:cNvPr id="1" name=""/>
        <p:cNvGrpSpPr/>
        <p:nvPr/>
      </p:nvGrpSpPr>
      <p:grpSpPr>
        <a:xfrm>
          <a:off x="0" y="0"/>
          <a:ext cx="0" cy="0"/>
          <a:chOff x="0" y="0"/>
          <a:chExt cx="0" cy="0"/>
        </a:xfrm>
      </p:grpSpPr>
      <p:graphicFrame>
        <p:nvGraphicFramePr>
          <p:cNvPr id="7" name="Objekti 6" hidden="1">
            <a:extLst>
              <a:ext uri="{FF2B5EF4-FFF2-40B4-BE49-F238E27FC236}">
                <a16:creationId xmlns:a16="http://schemas.microsoft.com/office/drawing/2014/main" id="{21DBFB21-C77C-4E6F-9EE7-50DAABE95815}"/>
              </a:ext>
            </a:extLst>
          </p:cNvPr>
          <p:cNvGraphicFramePr>
            <a:graphicFrameLocks noChangeAspect="1"/>
          </p:cNvGraphicFramePr>
          <p:nvPr userDrawn="1">
            <p:custDataLst>
              <p:tags r:id="rId2"/>
            </p:custDataLst>
            <p:extLst>
              <p:ext uri="{D42A27DB-BD31-4B8C-83A1-F6EECF244321}">
                <p14:modId xmlns:p14="http://schemas.microsoft.com/office/powerpoint/2010/main" val="3966693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90" name="think-cell Slide" r:id="rId5" imgW="395" imgH="396" progId="TCLayout.ActiveDocument.1">
                  <p:embed/>
                </p:oleObj>
              </mc:Choice>
              <mc:Fallback>
                <p:oleObj name="think-cell Slide" r:id="rId5" imgW="395" imgH="396" progId="TCLayout.ActiveDocument.1">
                  <p:embed/>
                  <p:pic>
                    <p:nvPicPr>
                      <p:cNvPr id="7" name="Objekti 6" hidden="1">
                        <a:extLst>
                          <a:ext uri="{FF2B5EF4-FFF2-40B4-BE49-F238E27FC236}">
                            <a16:creationId xmlns:a16="http://schemas.microsoft.com/office/drawing/2014/main" id="{21DBFB21-C77C-4E6F-9EE7-50DAABE958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Suorakulmio 5" hidden="1">
            <a:extLst>
              <a:ext uri="{FF2B5EF4-FFF2-40B4-BE49-F238E27FC236}">
                <a16:creationId xmlns:a16="http://schemas.microsoft.com/office/drawing/2014/main" id="{C9151F14-D206-4EBA-B08C-6FD305E3790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i-FI" sz="3200" b="1" i="0" baseline="0" dirty="0">
              <a:latin typeface="Arial" panose="020B0604020202020204" pitchFamily="34" charset="0"/>
              <a:ea typeface="+mj-ea"/>
              <a:cs typeface="+mj-cs"/>
              <a:sym typeface="Arial" panose="020B0604020202020204" pitchFamily="34" charset="0"/>
            </a:endParaRPr>
          </a:p>
        </p:txBody>
      </p:sp>
      <p:sp>
        <p:nvSpPr>
          <p:cNvPr id="8" name="Kuvan paikkamerkki 7">
            <a:extLst>
              <a:ext uri="{FF2B5EF4-FFF2-40B4-BE49-F238E27FC236}">
                <a16:creationId xmlns:a16="http://schemas.microsoft.com/office/drawing/2014/main" id="{EE30280F-D683-4C1D-BA9C-E19DD9977BA2}"/>
              </a:ext>
            </a:extLst>
          </p:cNvPr>
          <p:cNvSpPr>
            <a:spLocks noGrp="1"/>
          </p:cNvSpPr>
          <p:nvPr>
            <p:ph type="pic" sz="quarter" idx="13"/>
          </p:nvPr>
        </p:nvSpPr>
        <p:spPr>
          <a:xfrm>
            <a:off x="3048000" y="0"/>
            <a:ext cx="9143999" cy="6867832"/>
          </a:xfrm>
          <a:custGeom>
            <a:avLst/>
            <a:gdLst>
              <a:gd name="connsiteX0" fmla="*/ 0 w 5535612"/>
              <a:gd name="connsiteY0" fmla="*/ 0 h 6858000"/>
              <a:gd name="connsiteX1" fmla="*/ 5535612 w 5535612"/>
              <a:gd name="connsiteY1" fmla="*/ 0 h 6858000"/>
              <a:gd name="connsiteX2" fmla="*/ 5535612 w 5535612"/>
              <a:gd name="connsiteY2" fmla="*/ 6858000 h 6858000"/>
              <a:gd name="connsiteX3" fmla="*/ 0 w 5535612"/>
              <a:gd name="connsiteY3" fmla="*/ 6858000 h 6858000"/>
              <a:gd name="connsiteX4" fmla="*/ 0 w 5535612"/>
              <a:gd name="connsiteY4" fmla="*/ 0 h 6858000"/>
              <a:gd name="connsiteX0" fmla="*/ 0 w 5535612"/>
              <a:gd name="connsiteY0" fmla="*/ 0 h 6867832"/>
              <a:gd name="connsiteX1" fmla="*/ 5535612 w 5535612"/>
              <a:gd name="connsiteY1" fmla="*/ 0 h 6867832"/>
              <a:gd name="connsiteX2" fmla="*/ 5535612 w 5535612"/>
              <a:gd name="connsiteY2" fmla="*/ 6858000 h 6867832"/>
              <a:gd name="connsiteX3" fmla="*/ 2674375 w 5535612"/>
              <a:gd name="connsiteY3" fmla="*/ 6867832 h 6867832"/>
              <a:gd name="connsiteX4" fmla="*/ 0 w 5535612"/>
              <a:gd name="connsiteY4" fmla="*/ 0 h 6867832"/>
              <a:gd name="connsiteX0" fmla="*/ 2714053 w 8249665"/>
              <a:gd name="connsiteY0" fmla="*/ 0 h 6867832"/>
              <a:gd name="connsiteX1" fmla="*/ 8249665 w 8249665"/>
              <a:gd name="connsiteY1" fmla="*/ 0 h 6867832"/>
              <a:gd name="connsiteX2" fmla="*/ 8249665 w 8249665"/>
              <a:gd name="connsiteY2" fmla="*/ 6858000 h 6867832"/>
              <a:gd name="connsiteX3" fmla="*/ 0 w 8249665"/>
              <a:gd name="connsiteY3" fmla="*/ 6867832 h 6867832"/>
              <a:gd name="connsiteX4" fmla="*/ 2714053 w 8249665"/>
              <a:gd name="connsiteY4" fmla="*/ 0 h 6867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49665" h="6867832">
                <a:moveTo>
                  <a:pt x="2714053" y="0"/>
                </a:moveTo>
                <a:lnTo>
                  <a:pt x="8249665" y="0"/>
                </a:lnTo>
                <a:lnTo>
                  <a:pt x="8249665" y="6858000"/>
                </a:lnTo>
                <a:lnTo>
                  <a:pt x="0" y="6867832"/>
                </a:lnTo>
                <a:lnTo>
                  <a:pt x="2714053" y="0"/>
                </a:lnTo>
                <a:close/>
              </a:path>
            </a:pathLst>
          </a:custGeom>
          <a:ln>
            <a:noFill/>
          </a:ln>
        </p:spPr>
        <p:style>
          <a:lnRef idx="2">
            <a:schemeClr val="accent1"/>
          </a:lnRef>
          <a:fillRef idx="1">
            <a:schemeClr val="lt1"/>
          </a:fillRef>
          <a:effectRef idx="0">
            <a:schemeClr val="accent1"/>
          </a:effectRef>
          <a:fontRef idx="minor">
            <a:schemeClr val="dk1"/>
          </a:fontRef>
        </p:style>
        <p:txBody>
          <a:bodyPr/>
          <a:lstStyle/>
          <a:p>
            <a:r>
              <a:rPr lang="fi-FI"/>
              <a:t>Lisää kuva napsauttamalla kuvaketta</a:t>
            </a:r>
          </a:p>
        </p:txBody>
      </p:sp>
      <p:sp>
        <p:nvSpPr>
          <p:cNvPr id="2" name="Otsikko 1">
            <a:extLst>
              <a:ext uri="{FF2B5EF4-FFF2-40B4-BE49-F238E27FC236}">
                <a16:creationId xmlns:a16="http://schemas.microsoft.com/office/drawing/2014/main" id="{0CF3911C-5FB4-48D1-A672-900DDF1A507B}"/>
              </a:ext>
            </a:extLst>
          </p:cNvPr>
          <p:cNvSpPr>
            <a:spLocks noGrp="1"/>
          </p:cNvSpPr>
          <p:nvPr>
            <p:ph type="title"/>
          </p:nvPr>
        </p:nvSpPr>
        <p:spPr>
          <a:xfrm>
            <a:off x="540000" y="360000"/>
            <a:ext cx="4320000" cy="972000"/>
          </a:xfrm>
        </p:spPr>
        <p:txBody>
          <a:bodyPr/>
          <a:lstStyle/>
          <a:p>
            <a:r>
              <a:rPr lang="fi-FI"/>
              <a:t>Muokkaa perustyyl. napsautt.</a:t>
            </a:r>
            <a:endParaRPr lang="fi-FI" dirty="0"/>
          </a:p>
        </p:txBody>
      </p:sp>
      <p:sp>
        <p:nvSpPr>
          <p:cNvPr id="9" name="Tekstin paikkamerkki 8">
            <a:extLst>
              <a:ext uri="{FF2B5EF4-FFF2-40B4-BE49-F238E27FC236}">
                <a16:creationId xmlns:a16="http://schemas.microsoft.com/office/drawing/2014/main" id="{D24B1201-AD5E-4904-9A14-36A146BEF54F}"/>
              </a:ext>
            </a:extLst>
          </p:cNvPr>
          <p:cNvSpPr>
            <a:spLocks noGrp="1"/>
          </p:cNvSpPr>
          <p:nvPr>
            <p:ph type="body" sz="quarter" idx="14"/>
          </p:nvPr>
        </p:nvSpPr>
        <p:spPr>
          <a:xfrm>
            <a:off x="540000" y="1692000"/>
            <a:ext cx="3986264" cy="2160000"/>
          </a:xfrm>
        </p:spPr>
        <p:txBody>
          <a:body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endParaRPr lang="fi-FI" dirty="0"/>
          </a:p>
        </p:txBody>
      </p:sp>
      <p:sp>
        <p:nvSpPr>
          <p:cNvPr id="3" name="Päivämäärän paikkamerkki 2">
            <a:extLst>
              <a:ext uri="{FF2B5EF4-FFF2-40B4-BE49-F238E27FC236}">
                <a16:creationId xmlns:a16="http://schemas.microsoft.com/office/drawing/2014/main" id="{B62454FC-59FB-4190-8DB0-2A7A47F1A352}"/>
              </a:ext>
            </a:extLst>
          </p:cNvPr>
          <p:cNvSpPr>
            <a:spLocks noGrp="1"/>
          </p:cNvSpPr>
          <p:nvPr>
            <p:ph type="dt" sz="half" idx="15"/>
          </p:nvPr>
        </p:nvSpPr>
        <p:spPr/>
        <p:txBody>
          <a:bodyPr/>
          <a:lstStyle/>
          <a:p>
            <a:fld id="{885DB2C3-5FB0-4F59-B21B-A70EB4E273A2}" type="datetime1">
              <a:rPr lang="fi-FI" smtClean="0"/>
              <a:t>26.6.2023</a:t>
            </a:fld>
            <a:endParaRPr lang="fi-FI"/>
          </a:p>
        </p:txBody>
      </p:sp>
      <p:sp>
        <p:nvSpPr>
          <p:cNvPr id="4" name="Alatunnisteen paikkamerkki 3">
            <a:extLst>
              <a:ext uri="{FF2B5EF4-FFF2-40B4-BE49-F238E27FC236}">
                <a16:creationId xmlns:a16="http://schemas.microsoft.com/office/drawing/2014/main" id="{35DE6AF3-D091-4C8E-947C-E46F9BFFBD6C}"/>
              </a:ext>
            </a:extLst>
          </p:cNvPr>
          <p:cNvSpPr>
            <a:spLocks noGrp="1"/>
          </p:cNvSpPr>
          <p:nvPr>
            <p:ph type="ftr" sz="quarter" idx="16"/>
          </p:nvPr>
        </p:nvSpPr>
        <p:spPr/>
        <p:txBody>
          <a:bodyPr/>
          <a:lstStyle/>
          <a:p>
            <a:endParaRPr lang="fi-FI" dirty="0"/>
          </a:p>
        </p:txBody>
      </p:sp>
      <p:sp>
        <p:nvSpPr>
          <p:cNvPr id="5" name="Dian numeron paikkamerkki 4">
            <a:extLst>
              <a:ext uri="{FF2B5EF4-FFF2-40B4-BE49-F238E27FC236}">
                <a16:creationId xmlns:a16="http://schemas.microsoft.com/office/drawing/2014/main" id="{EE6F8374-7E9F-4886-A277-DB240A362428}"/>
              </a:ext>
            </a:extLst>
          </p:cNvPr>
          <p:cNvSpPr>
            <a:spLocks noGrp="1"/>
          </p:cNvSpPr>
          <p:nvPr>
            <p:ph type="sldNum" sz="quarter" idx="17"/>
          </p:nvPr>
        </p:nvSpPr>
        <p:spPr/>
        <p:txBody>
          <a:bodyPr/>
          <a:lstStyle/>
          <a:p>
            <a:fld id="{628F3778-6073-48C0-8E18-EFC09B82139A}" type="slidenum">
              <a:rPr lang="fi-FI" smtClean="0"/>
              <a:pPr/>
              <a:t>‹#›</a:t>
            </a:fld>
            <a:endParaRPr lang="fi-FI"/>
          </a:p>
        </p:txBody>
      </p:sp>
    </p:spTree>
    <p:extLst>
      <p:ext uri="{BB962C8B-B14F-4D97-AF65-F5344CB8AC3E}">
        <p14:creationId xmlns:p14="http://schemas.microsoft.com/office/powerpoint/2010/main" val="545786661"/>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Kaksipalstainen tekstisivu">
    <p:spTree>
      <p:nvGrpSpPr>
        <p:cNvPr id="1" name=""/>
        <p:cNvGrpSpPr/>
        <p:nvPr/>
      </p:nvGrpSpPr>
      <p:grpSpPr>
        <a:xfrm>
          <a:off x="0" y="0"/>
          <a:ext cx="0" cy="0"/>
          <a:chOff x="0" y="0"/>
          <a:chExt cx="0" cy="0"/>
        </a:xfrm>
      </p:grpSpPr>
      <p:graphicFrame>
        <p:nvGraphicFramePr>
          <p:cNvPr id="7" name="Objekti 6" hidden="1">
            <a:extLst>
              <a:ext uri="{FF2B5EF4-FFF2-40B4-BE49-F238E27FC236}">
                <a16:creationId xmlns:a16="http://schemas.microsoft.com/office/drawing/2014/main" id="{D3BBE4A8-3732-4C2D-8E9F-CC670BD5D2C8}"/>
              </a:ext>
            </a:extLst>
          </p:cNvPr>
          <p:cNvGraphicFramePr>
            <a:graphicFrameLocks noChangeAspect="1"/>
          </p:cNvGraphicFramePr>
          <p:nvPr userDrawn="1">
            <p:custDataLst>
              <p:tags r:id="rId2"/>
            </p:custDataLst>
            <p:extLst>
              <p:ext uri="{D42A27DB-BD31-4B8C-83A1-F6EECF244321}">
                <p14:modId xmlns:p14="http://schemas.microsoft.com/office/powerpoint/2010/main" val="21382930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14" name="think-cell Slide" r:id="rId5" imgW="395" imgH="396" progId="TCLayout.ActiveDocument.1">
                  <p:embed/>
                </p:oleObj>
              </mc:Choice>
              <mc:Fallback>
                <p:oleObj name="think-cell Slide" r:id="rId5" imgW="395" imgH="396" progId="TCLayout.ActiveDocument.1">
                  <p:embed/>
                  <p:pic>
                    <p:nvPicPr>
                      <p:cNvPr id="7" name="Objekti 6" hidden="1">
                        <a:extLst>
                          <a:ext uri="{FF2B5EF4-FFF2-40B4-BE49-F238E27FC236}">
                            <a16:creationId xmlns:a16="http://schemas.microsoft.com/office/drawing/2014/main" id="{D3BBE4A8-3732-4C2D-8E9F-CC670BD5D2C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Suorakulmio 5" hidden="1">
            <a:extLst>
              <a:ext uri="{FF2B5EF4-FFF2-40B4-BE49-F238E27FC236}">
                <a16:creationId xmlns:a16="http://schemas.microsoft.com/office/drawing/2014/main" id="{E4351BFE-98C7-45A2-A82F-3ECF00E49926}"/>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i-FI" sz="3200" b="1" i="0" baseline="0" dirty="0">
              <a:latin typeface="Arial" panose="020B0604020202020204" pitchFamily="34" charset="0"/>
              <a:ea typeface="+mj-ea"/>
              <a:cs typeface="+mj-cs"/>
              <a:sym typeface="Arial" panose="020B0604020202020204" pitchFamily="34" charset="0"/>
            </a:endParaRPr>
          </a:p>
        </p:txBody>
      </p:sp>
      <p:sp>
        <p:nvSpPr>
          <p:cNvPr id="2" name="Otsikko 1">
            <a:extLst>
              <a:ext uri="{FF2B5EF4-FFF2-40B4-BE49-F238E27FC236}">
                <a16:creationId xmlns:a16="http://schemas.microsoft.com/office/drawing/2014/main" id="{B8A092C2-9800-4696-B18B-CCD2D8D8E193}"/>
              </a:ext>
            </a:extLst>
          </p:cNvPr>
          <p:cNvSpPr>
            <a:spLocks noGrp="1"/>
          </p:cNvSpPr>
          <p:nvPr>
            <p:ph type="title"/>
          </p:nvPr>
        </p:nvSpPr>
        <p:spPr>
          <a:xfrm>
            <a:off x="540000" y="360000"/>
            <a:ext cx="11088000" cy="972000"/>
          </a:xfrm>
        </p:spPr>
        <p:txBody>
          <a:bodyPr/>
          <a:lstStyle/>
          <a:p>
            <a:r>
              <a:rPr lang="fi-FI"/>
              <a:t>Muokkaa perustyyl. napsautt.</a:t>
            </a:r>
            <a:endParaRPr lang="fi-FI" dirty="0"/>
          </a:p>
        </p:txBody>
      </p:sp>
      <p:sp>
        <p:nvSpPr>
          <p:cNvPr id="9" name="Tekstin paikkamerkki 8">
            <a:extLst>
              <a:ext uri="{FF2B5EF4-FFF2-40B4-BE49-F238E27FC236}">
                <a16:creationId xmlns:a16="http://schemas.microsoft.com/office/drawing/2014/main" id="{CCFC2567-2D3D-4693-B59E-EBA2FFD29AD5}"/>
              </a:ext>
            </a:extLst>
          </p:cNvPr>
          <p:cNvSpPr>
            <a:spLocks noGrp="1"/>
          </p:cNvSpPr>
          <p:nvPr>
            <p:ph type="body" sz="quarter" idx="13"/>
          </p:nvPr>
        </p:nvSpPr>
        <p:spPr>
          <a:xfrm>
            <a:off x="540000" y="1692000"/>
            <a:ext cx="5220000" cy="4351338"/>
          </a:xfrm>
        </p:spPr>
        <p:txBody>
          <a:bodyPr/>
          <a:lstStyle>
            <a:lvl1pPr marL="216000" indent="-216000">
              <a:buFont typeface="Arial" panose="020B0604020202020204" pitchFamily="34" charset="0"/>
              <a:buChar char="•"/>
              <a:defRPr/>
            </a:lvl1p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endParaRPr lang="fi-FI" dirty="0"/>
          </a:p>
        </p:txBody>
      </p:sp>
      <p:sp>
        <p:nvSpPr>
          <p:cNvPr id="10" name="Tekstin paikkamerkki 8">
            <a:extLst>
              <a:ext uri="{FF2B5EF4-FFF2-40B4-BE49-F238E27FC236}">
                <a16:creationId xmlns:a16="http://schemas.microsoft.com/office/drawing/2014/main" id="{93491ADA-8EBC-42DE-B467-E4F91AC6956D}"/>
              </a:ext>
            </a:extLst>
          </p:cNvPr>
          <p:cNvSpPr>
            <a:spLocks noGrp="1"/>
          </p:cNvSpPr>
          <p:nvPr>
            <p:ph type="body" sz="quarter" idx="14"/>
          </p:nvPr>
        </p:nvSpPr>
        <p:spPr>
          <a:xfrm>
            <a:off x="6408000" y="1692000"/>
            <a:ext cx="5220000" cy="4351338"/>
          </a:xfrm>
        </p:spPr>
        <p:txBody>
          <a:body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endParaRPr lang="fi-FI" dirty="0"/>
          </a:p>
        </p:txBody>
      </p:sp>
      <p:sp>
        <p:nvSpPr>
          <p:cNvPr id="3" name="Päivämäärän paikkamerkki 2">
            <a:extLst>
              <a:ext uri="{FF2B5EF4-FFF2-40B4-BE49-F238E27FC236}">
                <a16:creationId xmlns:a16="http://schemas.microsoft.com/office/drawing/2014/main" id="{27DABBE5-979E-4B71-951D-A9FE78BC6D85}"/>
              </a:ext>
            </a:extLst>
          </p:cNvPr>
          <p:cNvSpPr>
            <a:spLocks noGrp="1"/>
          </p:cNvSpPr>
          <p:nvPr>
            <p:ph type="dt" sz="half" idx="15"/>
          </p:nvPr>
        </p:nvSpPr>
        <p:spPr/>
        <p:txBody>
          <a:bodyPr/>
          <a:lstStyle/>
          <a:p>
            <a:fld id="{BB64B3D9-C2DF-4D3B-A309-126ACDE1AB83}" type="datetime1">
              <a:rPr lang="fi-FI" smtClean="0"/>
              <a:t>26.6.2023</a:t>
            </a:fld>
            <a:endParaRPr lang="fi-FI"/>
          </a:p>
        </p:txBody>
      </p:sp>
      <p:sp>
        <p:nvSpPr>
          <p:cNvPr id="4" name="Alatunnisteen paikkamerkki 3">
            <a:extLst>
              <a:ext uri="{FF2B5EF4-FFF2-40B4-BE49-F238E27FC236}">
                <a16:creationId xmlns:a16="http://schemas.microsoft.com/office/drawing/2014/main" id="{F855C5CC-91C2-406C-9EF8-54DDC07D1F32}"/>
              </a:ext>
            </a:extLst>
          </p:cNvPr>
          <p:cNvSpPr>
            <a:spLocks noGrp="1"/>
          </p:cNvSpPr>
          <p:nvPr>
            <p:ph type="ftr" sz="quarter" idx="16"/>
          </p:nvPr>
        </p:nvSpPr>
        <p:spPr/>
        <p:txBody>
          <a:bodyPr/>
          <a:lstStyle/>
          <a:p>
            <a:endParaRPr lang="fi-FI" dirty="0"/>
          </a:p>
        </p:txBody>
      </p:sp>
      <p:sp>
        <p:nvSpPr>
          <p:cNvPr id="5" name="Dian numeron paikkamerkki 4">
            <a:extLst>
              <a:ext uri="{FF2B5EF4-FFF2-40B4-BE49-F238E27FC236}">
                <a16:creationId xmlns:a16="http://schemas.microsoft.com/office/drawing/2014/main" id="{2888F8ED-5292-4BB2-BFEF-68477895F814}"/>
              </a:ext>
            </a:extLst>
          </p:cNvPr>
          <p:cNvSpPr>
            <a:spLocks noGrp="1"/>
          </p:cNvSpPr>
          <p:nvPr>
            <p:ph type="sldNum" sz="quarter" idx="17"/>
          </p:nvPr>
        </p:nvSpPr>
        <p:spPr/>
        <p:txBody>
          <a:bodyPr/>
          <a:lstStyle/>
          <a:p>
            <a:fld id="{628F3778-6073-48C0-8E18-EFC09B82139A}" type="slidenum">
              <a:rPr lang="fi-FI" smtClean="0"/>
              <a:pPr/>
              <a:t>‹#›</a:t>
            </a:fld>
            <a:endParaRPr lang="fi-FI"/>
          </a:p>
        </p:txBody>
      </p:sp>
    </p:spTree>
    <p:extLst>
      <p:ext uri="{BB962C8B-B14F-4D97-AF65-F5344CB8AC3E}">
        <p14:creationId xmlns:p14="http://schemas.microsoft.com/office/powerpoint/2010/main" val="260879907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äliotsikko tai nosto">
    <p:spTree>
      <p:nvGrpSpPr>
        <p:cNvPr id="1" name=""/>
        <p:cNvGrpSpPr/>
        <p:nvPr/>
      </p:nvGrpSpPr>
      <p:grpSpPr>
        <a:xfrm>
          <a:off x="0" y="0"/>
          <a:ext cx="0" cy="0"/>
          <a:chOff x="0" y="0"/>
          <a:chExt cx="0" cy="0"/>
        </a:xfrm>
      </p:grpSpPr>
      <p:sp>
        <p:nvSpPr>
          <p:cNvPr id="8" name="Kuvan paikkamerkki 7">
            <a:extLst>
              <a:ext uri="{FF2B5EF4-FFF2-40B4-BE49-F238E27FC236}">
                <a16:creationId xmlns:a16="http://schemas.microsoft.com/office/drawing/2014/main" id="{EE30280F-D683-4C1D-BA9C-E19DD9977BA2}"/>
              </a:ext>
            </a:extLst>
          </p:cNvPr>
          <p:cNvSpPr>
            <a:spLocks noGrp="1"/>
          </p:cNvSpPr>
          <p:nvPr>
            <p:ph type="pic" sz="quarter" idx="13"/>
          </p:nvPr>
        </p:nvSpPr>
        <p:spPr>
          <a:xfrm>
            <a:off x="6656388" y="0"/>
            <a:ext cx="5535612" cy="6867832"/>
          </a:xfrm>
          <a:custGeom>
            <a:avLst/>
            <a:gdLst>
              <a:gd name="connsiteX0" fmla="*/ 0 w 5535612"/>
              <a:gd name="connsiteY0" fmla="*/ 0 h 6858000"/>
              <a:gd name="connsiteX1" fmla="*/ 5535612 w 5535612"/>
              <a:gd name="connsiteY1" fmla="*/ 0 h 6858000"/>
              <a:gd name="connsiteX2" fmla="*/ 5535612 w 5535612"/>
              <a:gd name="connsiteY2" fmla="*/ 6858000 h 6858000"/>
              <a:gd name="connsiteX3" fmla="*/ 0 w 5535612"/>
              <a:gd name="connsiteY3" fmla="*/ 6858000 h 6858000"/>
              <a:gd name="connsiteX4" fmla="*/ 0 w 5535612"/>
              <a:gd name="connsiteY4" fmla="*/ 0 h 6858000"/>
              <a:gd name="connsiteX0" fmla="*/ 0 w 5535612"/>
              <a:gd name="connsiteY0" fmla="*/ 0 h 6867832"/>
              <a:gd name="connsiteX1" fmla="*/ 5535612 w 5535612"/>
              <a:gd name="connsiteY1" fmla="*/ 0 h 6867832"/>
              <a:gd name="connsiteX2" fmla="*/ 5535612 w 5535612"/>
              <a:gd name="connsiteY2" fmla="*/ 6858000 h 6867832"/>
              <a:gd name="connsiteX3" fmla="*/ 2674375 w 5535612"/>
              <a:gd name="connsiteY3" fmla="*/ 6867832 h 6867832"/>
              <a:gd name="connsiteX4" fmla="*/ 0 w 5535612"/>
              <a:gd name="connsiteY4" fmla="*/ 0 h 6867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5612" h="6867832">
                <a:moveTo>
                  <a:pt x="0" y="0"/>
                </a:moveTo>
                <a:lnTo>
                  <a:pt x="5535612" y="0"/>
                </a:lnTo>
                <a:lnTo>
                  <a:pt x="5535612" y="6858000"/>
                </a:lnTo>
                <a:lnTo>
                  <a:pt x="2674375" y="6867832"/>
                </a:lnTo>
                <a:lnTo>
                  <a:pt x="0" y="0"/>
                </a:lnTo>
                <a:close/>
              </a:path>
            </a:pathLst>
          </a:custGeom>
          <a:ln>
            <a:noFill/>
          </a:ln>
        </p:spPr>
        <p:style>
          <a:lnRef idx="2">
            <a:schemeClr val="accent1"/>
          </a:lnRef>
          <a:fillRef idx="1">
            <a:schemeClr val="lt1"/>
          </a:fillRef>
          <a:effectRef idx="0">
            <a:schemeClr val="accent1"/>
          </a:effectRef>
          <a:fontRef idx="minor">
            <a:schemeClr val="dk1"/>
          </a:fontRef>
        </p:style>
        <p:txBody>
          <a:bodyPr/>
          <a:lstStyle/>
          <a:p>
            <a:r>
              <a:rPr lang="fi-FI"/>
              <a:t>Lisää kuva napsauttamalla kuvaketta</a:t>
            </a:r>
          </a:p>
        </p:txBody>
      </p:sp>
      <p:sp>
        <p:nvSpPr>
          <p:cNvPr id="7" name="Otsikko 6">
            <a:extLst>
              <a:ext uri="{FF2B5EF4-FFF2-40B4-BE49-F238E27FC236}">
                <a16:creationId xmlns:a16="http://schemas.microsoft.com/office/drawing/2014/main" id="{1A1685AD-22D4-4601-9BC6-B5AD3DCE05A0}"/>
              </a:ext>
            </a:extLst>
          </p:cNvPr>
          <p:cNvSpPr>
            <a:spLocks noGrp="1"/>
          </p:cNvSpPr>
          <p:nvPr>
            <p:ph type="title"/>
          </p:nvPr>
        </p:nvSpPr>
        <p:spPr>
          <a:xfrm>
            <a:off x="540000" y="540000"/>
            <a:ext cx="5580000" cy="5760000"/>
          </a:xfrm>
        </p:spPr>
        <p:txBody>
          <a:bodyPr anchor="ctr" anchorCtr="0">
            <a:normAutofit/>
          </a:bodyPr>
          <a:lstStyle>
            <a:lvl1pPr>
              <a:lnSpc>
                <a:spcPct val="90000"/>
              </a:lnSpc>
              <a:defRPr sz="3800" baseline="0"/>
            </a:lvl1pPr>
          </a:lstStyle>
          <a:p>
            <a:r>
              <a:rPr lang="fi-FI"/>
              <a:t>Muokkaa perustyyl. napsautt.</a:t>
            </a:r>
          </a:p>
        </p:txBody>
      </p:sp>
      <p:sp>
        <p:nvSpPr>
          <p:cNvPr id="2" name="Päivämäärän paikkamerkki 1">
            <a:extLst>
              <a:ext uri="{FF2B5EF4-FFF2-40B4-BE49-F238E27FC236}">
                <a16:creationId xmlns:a16="http://schemas.microsoft.com/office/drawing/2014/main" id="{4ABBBCCC-AC00-43A7-8477-89FAA6E6C6A4}"/>
              </a:ext>
            </a:extLst>
          </p:cNvPr>
          <p:cNvSpPr>
            <a:spLocks noGrp="1"/>
          </p:cNvSpPr>
          <p:nvPr>
            <p:ph type="dt" sz="half" idx="14"/>
          </p:nvPr>
        </p:nvSpPr>
        <p:spPr/>
        <p:txBody>
          <a:bodyPr/>
          <a:lstStyle/>
          <a:p>
            <a:fld id="{60C23177-81C6-4822-8CE2-4A6715D7BC16}" type="datetime1">
              <a:rPr lang="fi-FI" smtClean="0"/>
              <a:t>26.6.2023</a:t>
            </a:fld>
            <a:endParaRPr lang="fi-FI"/>
          </a:p>
        </p:txBody>
      </p:sp>
      <p:sp>
        <p:nvSpPr>
          <p:cNvPr id="3" name="Alatunnisteen paikkamerkki 2">
            <a:extLst>
              <a:ext uri="{FF2B5EF4-FFF2-40B4-BE49-F238E27FC236}">
                <a16:creationId xmlns:a16="http://schemas.microsoft.com/office/drawing/2014/main" id="{4F13AC6A-0AEC-4D3D-A648-7004FC923C65}"/>
              </a:ext>
            </a:extLst>
          </p:cNvPr>
          <p:cNvSpPr>
            <a:spLocks noGrp="1"/>
          </p:cNvSpPr>
          <p:nvPr>
            <p:ph type="ftr" sz="quarter" idx="15"/>
          </p:nvPr>
        </p:nvSpPr>
        <p:spPr/>
        <p:txBody>
          <a:bodyPr/>
          <a:lstStyle/>
          <a:p>
            <a:endParaRPr lang="fi-FI" dirty="0"/>
          </a:p>
        </p:txBody>
      </p:sp>
      <p:sp>
        <p:nvSpPr>
          <p:cNvPr id="4" name="Dian numeron paikkamerkki 3">
            <a:extLst>
              <a:ext uri="{FF2B5EF4-FFF2-40B4-BE49-F238E27FC236}">
                <a16:creationId xmlns:a16="http://schemas.microsoft.com/office/drawing/2014/main" id="{00DC5AE9-300D-41CE-B879-D22E8BBFF226}"/>
              </a:ext>
            </a:extLst>
          </p:cNvPr>
          <p:cNvSpPr>
            <a:spLocks noGrp="1"/>
          </p:cNvSpPr>
          <p:nvPr>
            <p:ph type="sldNum" sz="quarter" idx="16"/>
          </p:nvPr>
        </p:nvSpPr>
        <p:spPr/>
        <p:txBody>
          <a:bodyPr/>
          <a:lstStyle/>
          <a:p>
            <a:fld id="{628F3778-6073-48C0-8E18-EFC09B82139A}" type="slidenum">
              <a:rPr lang="fi-FI" smtClean="0"/>
              <a:pPr/>
              <a:t>‹#›</a:t>
            </a:fld>
            <a:endParaRPr lang="fi-FI"/>
          </a:p>
        </p:txBody>
      </p:sp>
    </p:spTree>
    <p:extLst>
      <p:ext uri="{BB962C8B-B14F-4D97-AF65-F5344CB8AC3E}">
        <p14:creationId xmlns:p14="http://schemas.microsoft.com/office/powerpoint/2010/main" val="180471323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kstiä ja grafiikkaa">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0CF3911C-5FB4-48D1-A672-900DDF1A507B}"/>
              </a:ext>
            </a:extLst>
          </p:cNvPr>
          <p:cNvSpPr>
            <a:spLocks noGrp="1"/>
          </p:cNvSpPr>
          <p:nvPr>
            <p:ph type="title"/>
          </p:nvPr>
        </p:nvSpPr>
        <p:spPr>
          <a:xfrm>
            <a:off x="540000" y="360000"/>
            <a:ext cx="5220000" cy="972000"/>
          </a:xfrm>
        </p:spPr>
        <p:txBody>
          <a:bodyPr/>
          <a:lstStyle/>
          <a:p>
            <a:r>
              <a:rPr lang="fi-FI"/>
              <a:t>Muokkaa perustyyl. napsautt.</a:t>
            </a:r>
          </a:p>
        </p:txBody>
      </p:sp>
      <p:sp>
        <p:nvSpPr>
          <p:cNvPr id="12" name="Kaavion paikkamerkki 11">
            <a:extLst>
              <a:ext uri="{FF2B5EF4-FFF2-40B4-BE49-F238E27FC236}">
                <a16:creationId xmlns:a16="http://schemas.microsoft.com/office/drawing/2014/main" id="{B81C5573-FA74-41F1-92C1-11E3450F3CE3}"/>
              </a:ext>
            </a:extLst>
          </p:cNvPr>
          <p:cNvSpPr>
            <a:spLocks noGrp="1"/>
          </p:cNvSpPr>
          <p:nvPr>
            <p:ph type="chart" sz="quarter" idx="13"/>
          </p:nvPr>
        </p:nvSpPr>
        <p:spPr>
          <a:xfrm>
            <a:off x="6466195" y="360363"/>
            <a:ext cx="5219700" cy="5760000"/>
          </a:xfrm>
        </p:spPr>
        <p:txBody>
          <a:bodyPr/>
          <a:lstStyle/>
          <a:p>
            <a:r>
              <a:rPr lang="fi-FI"/>
              <a:t>Lisää kaavio napsauttamalla kuvaketta</a:t>
            </a:r>
            <a:endParaRPr lang="fi-FI" dirty="0"/>
          </a:p>
        </p:txBody>
      </p:sp>
      <p:sp>
        <p:nvSpPr>
          <p:cNvPr id="8" name="Tekstin paikkamerkki 7">
            <a:extLst>
              <a:ext uri="{FF2B5EF4-FFF2-40B4-BE49-F238E27FC236}">
                <a16:creationId xmlns:a16="http://schemas.microsoft.com/office/drawing/2014/main" id="{AD067D7F-5108-4FF0-AE9C-BD0CDBC3FCCA}"/>
              </a:ext>
            </a:extLst>
          </p:cNvPr>
          <p:cNvSpPr>
            <a:spLocks noGrp="1"/>
          </p:cNvSpPr>
          <p:nvPr>
            <p:ph type="body" sz="quarter" idx="14"/>
          </p:nvPr>
        </p:nvSpPr>
        <p:spPr>
          <a:xfrm>
            <a:off x="540000" y="1692000"/>
            <a:ext cx="5199063" cy="4436025"/>
          </a:xfrm>
        </p:spPr>
        <p:txBody>
          <a:body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p>
        </p:txBody>
      </p:sp>
      <p:sp>
        <p:nvSpPr>
          <p:cNvPr id="3" name="Päivämäärän paikkamerkki 2">
            <a:extLst>
              <a:ext uri="{FF2B5EF4-FFF2-40B4-BE49-F238E27FC236}">
                <a16:creationId xmlns:a16="http://schemas.microsoft.com/office/drawing/2014/main" id="{A865725A-2CA8-4B22-85E0-1332525E3486}"/>
              </a:ext>
            </a:extLst>
          </p:cNvPr>
          <p:cNvSpPr>
            <a:spLocks noGrp="1"/>
          </p:cNvSpPr>
          <p:nvPr>
            <p:ph type="dt" sz="half" idx="15"/>
          </p:nvPr>
        </p:nvSpPr>
        <p:spPr/>
        <p:txBody>
          <a:bodyPr/>
          <a:lstStyle/>
          <a:p>
            <a:fld id="{8420ACDD-AEFD-41DA-9C51-12B02F3B3DD9}" type="datetime1">
              <a:rPr lang="fi-FI" smtClean="0"/>
              <a:t>26.6.2023</a:t>
            </a:fld>
            <a:endParaRPr lang="fi-FI"/>
          </a:p>
        </p:txBody>
      </p:sp>
      <p:sp>
        <p:nvSpPr>
          <p:cNvPr id="4" name="Alatunnisteen paikkamerkki 3">
            <a:extLst>
              <a:ext uri="{FF2B5EF4-FFF2-40B4-BE49-F238E27FC236}">
                <a16:creationId xmlns:a16="http://schemas.microsoft.com/office/drawing/2014/main" id="{0C108747-3837-41D1-9177-91663635C4A1}"/>
              </a:ext>
            </a:extLst>
          </p:cNvPr>
          <p:cNvSpPr>
            <a:spLocks noGrp="1"/>
          </p:cNvSpPr>
          <p:nvPr>
            <p:ph type="ftr" sz="quarter" idx="16"/>
          </p:nvPr>
        </p:nvSpPr>
        <p:spPr/>
        <p:txBody>
          <a:bodyPr/>
          <a:lstStyle/>
          <a:p>
            <a:endParaRPr lang="fi-FI" dirty="0"/>
          </a:p>
        </p:txBody>
      </p:sp>
      <p:sp>
        <p:nvSpPr>
          <p:cNvPr id="5" name="Dian numeron paikkamerkki 4">
            <a:extLst>
              <a:ext uri="{FF2B5EF4-FFF2-40B4-BE49-F238E27FC236}">
                <a16:creationId xmlns:a16="http://schemas.microsoft.com/office/drawing/2014/main" id="{35F60A17-9867-450C-8D86-FE17CA4A982E}"/>
              </a:ext>
            </a:extLst>
          </p:cNvPr>
          <p:cNvSpPr>
            <a:spLocks noGrp="1"/>
          </p:cNvSpPr>
          <p:nvPr>
            <p:ph type="sldNum" sz="quarter" idx="17"/>
          </p:nvPr>
        </p:nvSpPr>
        <p:spPr/>
        <p:txBody>
          <a:bodyPr/>
          <a:lstStyle/>
          <a:p>
            <a:fld id="{628F3778-6073-48C0-8E18-EFC09B82139A}" type="slidenum">
              <a:rPr lang="fi-FI" smtClean="0"/>
              <a:pPr/>
              <a:t>‹#›</a:t>
            </a:fld>
            <a:endParaRPr lang="fi-FI"/>
          </a:p>
        </p:txBody>
      </p:sp>
    </p:spTree>
    <p:extLst>
      <p:ext uri="{BB962C8B-B14F-4D97-AF65-F5344CB8AC3E}">
        <p14:creationId xmlns:p14="http://schemas.microsoft.com/office/powerpoint/2010/main" val="2903251427"/>
      </p:ext>
    </p:extLst>
  </p:cSld>
  <p:clrMapOvr>
    <a:masterClrMapping/>
  </p:clrMapOvr>
  <p:extLst>
    <p:ext uri="{DCECCB84-F9BA-43D5-87BE-67443E8EF086}">
      <p15:sldGuideLst xmlns:p15="http://schemas.microsoft.com/office/powerpoint/2012/main">
        <p15:guide id="2" pos="4067"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3.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kti 8" hidden="1">
            <a:extLst>
              <a:ext uri="{FF2B5EF4-FFF2-40B4-BE49-F238E27FC236}">
                <a16:creationId xmlns:a16="http://schemas.microsoft.com/office/drawing/2014/main" id="{01FFD506-F864-4D82-A687-A4B63550FAEA}"/>
              </a:ext>
            </a:extLst>
          </p:cNvPr>
          <p:cNvGraphicFramePr>
            <a:graphicFrameLocks noChangeAspect="1"/>
          </p:cNvGraphicFramePr>
          <p:nvPr userDrawn="1">
            <p:custDataLst>
              <p:tags r:id="rId17"/>
            </p:custDataLst>
            <p:extLst>
              <p:ext uri="{D42A27DB-BD31-4B8C-83A1-F6EECF244321}">
                <p14:modId xmlns:p14="http://schemas.microsoft.com/office/powerpoint/2010/main" val="34195722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6" name="think-cell Slide" r:id="rId19" imgW="395" imgH="396" progId="TCLayout.ActiveDocument.1">
                  <p:embed/>
                </p:oleObj>
              </mc:Choice>
              <mc:Fallback>
                <p:oleObj name="think-cell Slide" r:id="rId19" imgW="395" imgH="396" progId="TCLayout.ActiveDocument.1">
                  <p:embed/>
                  <p:pic>
                    <p:nvPicPr>
                      <p:cNvPr id="9" name="Objekti 8" hidden="1">
                        <a:extLst>
                          <a:ext uri="{FF2B5EF4-FFF2-40B4-BE49-F238E27FC236}">
                            <a16:creationId xmlns:a16="http://schemas.microsoft.com/office/drawing/2014/main" id="{01FFD506-F864-4D82-A687-A4B63550FAEA}"/>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8" name="Suorakulmio 7" hidden="1">
            <a:extLst>
              <a:ext uri="{FF2B5EF4-FFF2-40B4-BE49-F238E27FC236}">
                <a16:creationId xmlns:a16="http://schemas.microsoft.com/office/drawing/2014/main" id="{FD5EC254-8AF4-4A4E-BB59-CCDD6B280DAE}"/>
              </a:ext>
            </a:extLst>
          </p:cNvPr>
          <p:cNvSpPr/>
          <p:nvPr userDrawn="1">
            <p:custDataLst>
              <p:tags r:id="rId1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i-FI" sz="3200" b="1" i="0" baseline="0" dirty="0">
              <a:latin typeface="Arial" panose="020B0604020202020204" pitchFamily="34" charset="0"/>
              <a:ea typeface="+mj-ea"/>
              <a:cs typeface="+mj-cs"/>
              <a:sym typeface="Arial" panose="020B0604020202020204" pitchFamily="34" charset="0"/>
            </a:endParaRPr>
          </a:p>
        </p:txBody>
      </p:sp>
      <p:sp>
        <p:nvSpPr>
          <p:cNvPr id="2" name="Otsikon paikkamerkki 1">
            <a:extLst>
              <a:ext uri="{FF2B5EF4-FFF2-40B4-BE49-F238E27FC236}">
                <a16:creationId xmlns:a16="http://schemas.microsoft.com/office/drawing/2014/main" id="{34F467FD-623F-4ACA-87E6-5F1356B1775D}"/>
              </a:ext>
            </a:extLst>
          </p:cNvPr>
          <p:cNvSpPr>
            <a:spLocks noGrp="1"/>
          </p:cNvSpPr>
          <p:nvPr>
            <p:ph type="title"/>
          </p:nvPr>
        </p:nvSpPr>
        <p:spPr>
          <a:xfrm>
            <a:off x="540000" y="360000"/>
            <a:ext cx="9000000" cy="972000"/>
          </a:xfrm>
          <a:prstGeom prst="rect">
            <a:avLst/>
          </a:prstGeom>
        </p:spPr>
        <p:txBody>
          <a:bodyPr vert="horz" lIns="0" tIns="0" rIns="0" bIns="0" rtlCol="0" anchor="b" anchorCtr="0">
            <a:noAutofit/>
          </a:body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3" name="Tekstin paikkamerkki 2">
            <a:extLst>
              <a:ext uri="{FF2B5EF4-FFF2-40B4-BE49-F238E27FC236}">
                <a16:creationId xmlns:a16="http://schemas.microsoft.com/office/drawing/2014/main" id="{D4AD7BF9-5B1D-4AF7-9CDD-1F804BBA87B7}"/>
              </a:ext>
            </a:extLst>
          </p:cNvPr>
          <p:cNvSpPr>
            <a:spLocks noGrp="1"/>
          </p:cNvSpPr>
          <p:nvPr>
            <p:ph type="body" idx="1"/>
          </p:nvPr>
        </p:nvSpPr>
        <p:spPr>
          <a:xfrm>
            <a:off x="540000" y="1692000"/>
            <a:ext cx="6300000" cy="4572000"/>
          </a:xfrm>
          <a:prstGeom prst="rect">
            <a:avLst/>
          </a:prstGeom>
        </p:spPr>
        <p:txBody>
          <a:bodyPr vert="horz" lIns="0" tIns="0" rIns="0" bIns="0" rtlCol="0">
            <a:noAutofit/>
          </a:body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sp>
        <p:nvSpPr>
          <p:cNvPr id="4" name="Päivämäärän paikkamerkki 3">
            <a:extLst>
              <a:ext uri="{FF2B5EF4-FFF2-40B4-BE49-F238E27FC236}">
                <a16:creationId xmlns:a16="http://schemas.microsoft.com/office/drawing/2014/main" id="{6D4381B7-3DFF-420E-8B6A-B6ACA7BE5358}"/>
              </a:ext>
            </a:extLst>
          </p:cNvPr>
          <p:cNvSpPr>
            <a:spLocks noGrp="1"/>
          </p:cNvSpPr>
          <p:nvPr>
            <p:ph type="dt" sz="half" idx="2"/>
          </p:nvPr>
        </p:nvSpPr>
        <p:spPr>
          <a:xfrm>
            <a:off x="1574127" y="6462511"/>
            <a:ext cx="732232" cy="180001"/>
          </a:xfrm>
          <a:prstGeom prst="rect">
            <a:avLst/>
          </a:prstGeom>
        </p:spPr>
        <p:txBody>
          <a:bodyPr vert="horz" lIns="0" tIns="0" rIns="0" bIns="0" rtlCol="0" anchor="ctr"/>
          <a:lstStyle>
            <a:lvl1pPr algn="l">
              <a:defRPr sz="900">
                <a:solidFill>
                  <a:schemeClr val="accent1"/>
                </a:solidFill>
              </a:defRPr>
            </a:lvl1pPr>
          </a:lstStyle>
          <a:p>
            <a:fld id="{095CFC36-789F-4B6B-BEE7-671B9B40FD2A}" type="datetime1">
              <a:rPr lang="fi-FI" smtClean="0"/>
              <a:t>26.6.2023</a:t>
            </a:fld>
            <a:endParaRPr lang="fi-FI" dirty="0"/>
          </a:p>
        </p:txBody>
      </p:sp>
      <p:sp>
        <p:nvSpPr>
          <p:cNvPr id="6" name="Dian numeron paikkamerkki 5">
            <a:extLst>
              <a:ext uri="{FF2B5EF4-FFF2-40B4-BE49-F238E27FC236}">
                <a16:creationId xmlns:a16="http://schemas.microsoft.com/office/drawing/2014/main" id="{CDCAF5B3-53B6-4C7D-A6BE-5DB4C46A95B8}"/>
              </a:ext>
            </a:extLst>
          </p:cNvPr>
          <p:cNvSpPr>
            <a:spLocks noGrp="1"/>
          </p:cNvSpPr>
          <p:nvPr>
            <p:ph type="sldNum" sz="quarter" idx="4"/>
          </p:nvPr>
        </p:nvSpPr>
        <p:spPr>
          <a:xfrm>
            <a:off x="1233227" y="6462512"/>
            <a:ext cx="323834" cy="180000"/>
          </a:xfrm>
          <a:prstGeom prst="rect">
            <a:avLst/>
          </a:prstGeom>
        </p:spPr>
        <p:txBody>
          <a:bodyPr vert="horz" lIns="0" tIns="0" rIns="0" bIns="0" rtlCol="0" anchor="ctr"/>
          <a:lstStyle>
            <a:lvl1pPr algn="l">
              <a:defRPr sz="900">
                <a:solidFill>
                  <a:schemeClr val="accent1"/>
                </a:solidFill>
              </a:defRPr>
            </a:lvl1pPr>
          </a:lstStyle>
          <a:p>
            <a:fld id="{628F3778-6073-48C0-8E18-EFC09B82139A}" type="slidenum">
              <a:rPr lang="fi-FI" smtClean="0"/>
              <a:pPr/>
              <a:t>‹#›</a:t>
            </a:fld>
            <a:endParaRPr lang="fi-FI" dirty="0"/>
          </a:p>
        </p:txBody>
      </p:sp>
      <p:sp>
        <p:nvSpPr>
          <p:cNvPr id="5" name="Alatunnisteen paikkamerkki 4">
            <a:extLst>
              <a:ext uri="{FF2B5EF4-FFF2-40B4-BE49-F238E27FC236}">
                <a16:creationId xmlns:a16="http://schemas.microsoft.com/office/drawing/2014/main" id="{3DE342DE-6900-41D3-861D-47AE2BBF4B89}"/>
              </a:ext>
            </a:extLst>
          </p:cNvPr>
          <p:cNvSpPr>
            <a:spLocks noGrp="1"/>
          </p:cNvSpPr>
          <p:nvPr>
            <p:ph type="ftr" sz="quarter" idx="3"/>
          </p:nvPr>
        </p:nvSpPr>
        <p:spPr>
          <a:xfrm>
            <a:off x="2327401" y="6462511"/>
            <a:ext cx="4441819" cy="180001"/>
          </a:xfrm>
          <a:prstGeom prst="rect">
            <a:avLst/>
          </a:prstGeom>
        </p:spPr>
        <p:txBody>
          <a:bodyPr vert="horz" lIns="0" tIns="0" rIns="0" bIns="0" rtlCol="0" anchor="ctr"/>
          <a:lstStyle>
            <a:lvl1pPr algn="l">
              <a:defRPr sz="900">
                <a:solidFill>
                  <a:schemeClr val="accent1"/>
                </a:solidFill>
              </a:defRPr>
            </a:lvl1pPr>
          </a:lstStyle>
          <a:p>
            <a:endParaRPr lang="fi-FI" dirty="0"/>
          </a:p>
        </p:txBody>
      </p:sp>
      <p:pic>
        <p:nvPicPr>
          <p:cNvPr id="10" name="Kuva 9" descr="Kuva, joka sisältää kohteen näyttö, objekti, valaistu, istuminen&#10;&#10;Kuvaus luotu automaattisesti">
            <a:extLst>
              <a:ext uri="{FF2B5EF4-FFF2-40B4-BE49-F238E27FC236}">
                <a16:creationId xmlns:a16="http://schemas.microsoft.com/office/drawing/2014/main" id="{5E5D83C3-C317-4DEE-83C5-14F848682962}"/>
              </a:ext>
            </a:extLst>
          </p:cNvPr>
          <p:cNvPicPr>
            <a:picLocks noChangeAspect="1"/>
          </p:cNvPicPr>
          <p:nvPr userDrawn="1"/>
        </p:nvPicPr>
        <p:blipFill>
          <a:blip r:embed="rId21" cstate="hqprint">
            <a:extLst>
              <a:ext uri="{28A0092B-C50C-407E-A947-70E740481C1C}">
                <a14:useLocalDpi xmlns:a14="http://schemas.microsoft.com/office/drawing/2010/main" val="0"/>
              </a:ext>
            </a:extLst>
          </a:blip>
          <a:stretch>
            <a:fillRect/>
          </a:stretch>
        </p:blipFill>
        <p:spPr>
          <a:xfrm>
            <a:off x="552700" y="6432756"/>
            <a:ext cx="534098" cy="180000"/>
          </a:xfrm>
          <a:prstGeom prst="rect">
            <a:avLst/>
          </a:prstGeom>
        </p:spPr>
      </p:pic>
    </p:spTree>
    <p:extLst>
      <p:ext uri="{BB962C8B-B14F-4D97-AF65-F5344CB8AC3E}">
        <p14:creationId xmlns:p14="http://schemas.microsoft.com/office/powerpoint/2010/main" val="1869550800"/>
      </p:ext>
    </p:extLst>
  </p:cSld>
  <p:clrMap bg1="lt1" tx1="dk1" bg2="lt2" tx2="dk2" accent1="accent1" accent2="accent2" accent3="accent3" accent4="accent4" accent5="accent5" accent6="accent6" hlink="hlink" folHlink="folHlink"/>
  <p:sldLayoutIdLst>
    <p:sldLayoutId id="2147483649" r:id="rId1"/>
    <p:sldLayoutId id="2147483662" r:id="rId2"/>
    <p:sldLayoutId id="2147483660" r:id="rId3"/>
    <p:sldLayoutId id="2147483661" r:id="rId4"/>
    <p:sldLayoutId id="2147483663" r:id="rId5"/>
    <p:sldLayoutId id="2147483666" r:id="rId6"/>
    <p:sldLayoutId id="2147483652" r:id="rId7"/>
    <p:sldLayoutId id="2147483664" r:id="rId8"/>
    <p:sldLayoutId id="2147483650" r:id="rId9"/>
    <p:sldLayoutId id="2147483665" r:id="rId10"/>
    <p:sldLayoutId id="2147483654" r:id="rId11"/>
    <p:sldLayoutId id="2147483668" r:id="rId12"/>
    <p:sldLayoutId id="2147483669" r:id="rId13"/>
    <p:sldLayoutId id="2147483670" r:id="rId14"/>
  </p:sldLayoutIdLst>
  <p:hf hdr="0"/>
  <p:txStyles>
    <p:titleStyle>
      <a:lvl1pPr algn="l" defTabSz="360000" rtl="0" eaLnBrk="1" latinLnBrk="0" hangingPunct="1">
        <a:lnSpc>
          <a:spcPct val="85000"/>
        </a:lnSpc>
        <a:spcBef>
          <a:spcPct val="0"/>
        </a:spcBef>
        <a:buNone/>
        <a:defRPr sz="3200" b="1" kern="1200" spc="-20" baseline="0">
          <a:solidFill>
            <a:schemeClr val="accent1"/>
          </a:solidFill>
          <a:latin typeface="+mj-lt"/>
          <a:ea typeface="+mj-ea"/>
          <a:cs typeface="+mj-cs"/>
        </a:defRPr>
      </a:lvl1pPr>
    </p:titleStyle>
    <p:bodyStyle>
      <a:lvl1pPr marL="216000" indent="-216000" algn="l" defTabSz="2160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431800" indent="-216000" algn="l" defTabSz="2160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2pPr>
      <a:lvl3pPr marL="648000" indent="-216000" algn="l" defTabSz="2160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3pPr>
      <a:lvl4pPr marL="864000" indent="-216000" algn="l" defTabSz="2160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4pPr>
      <a:lvl5pPr marL="1080000" indent="-216000" algn="l" defTabSz="2160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47" userDrawn="1">
          <p15:clr>
            <a:srgbClr val="F26B43"/>
          </p15:clr>
        </p15:guide>
        <p15:guide id="4" orient="horz" pos="4156" userDrawn="1">
          <p15:clr>
            <a:srgbClr val="F26B43"/>
          </p15:clr>
        </p15:guide>
        <p15:guide id="5" pos="7355"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hyperlink" Target="http://urn.fi/URN:ISBN:978-952-383-781-2" TargetMode="External"/><Relationship Id="rId2" Type="http://schemas.openxmlformats.org/officeDocument/2006/relationships/image" Target="../media/image8.jpeg"/><Relationship Id="rId1" Type="http://schemas.openxmlformats.org/officeDocument/2006/relationships/slideLayout" Target="../slideLayouts/slideLayout2.xml"/><Relationship Id="rId4" Type="http://schemas.openxmlformats.org/officeDocument/2006/relationships/image" Target="../media/image9.jpeg"/></Relationships>
</file>

<file path=ppt/slides/_rels/slide3.xml.rels><?xml version="1.0" encoding="UTF-8" standalone="yes"?>
<Relationships xmlns="http://schemas.openxmlformats.org/package/2006/relationships"><Relationship Id="rId3" Type="http://schemas.openxmlformats.org/officeDocument/2006/relationships/hyperlink" Target="https://lvm.fi/-/selvitys-joukkoliikenteen-matkaketjujen-saavutettavuudessa-parantamisen-varaa-1856984" TargetMode="External"/><Relationship Id="rId2" Type="http://schemas.openxmlformats.org/officeDocument/2006/relationships/image" Target="../media/image8.jpeg"/><Relationship Id="rId1" Type="http://schemas.openxmlformats.org/officeDocument/2006/relationships/slideLayout" Target="../slideLayouts/slideLayout2.xml"/><Relationship Id="rId4" Type="http://schemas.openxmlformats.org/officeDocument/2006/relationships/image" Target="../media/image10.jpeg"/></Relationships>
</file>

<file path=ppt/slides/_rels/slide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image" Target="../media/image14.png"/><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E987FBA1-EDCE-4B8C-AE5E-65EEF9865EB0}"/>
              </a:ext>
            </a:extLst>
          </p:cNvPr>
          <p:cNvSpPr>
            <a:spLocks noGrp="1"/>
          </p:cNvSpPr>
          <p:nvPr>
            <p:ph type="ctrTitle"/>
          </p:nvPr>
        </p:nvSpPr>
        <p:spPr/>
        <p:txBody>
          <a:bodyPr/>
          <a:lstStyle/>
          <a:p>
            <a:r>
              <a:rPr lang="fi-FI" dirty="0" err="1"/>
              <a:t>Tillgänglighetsvision</a:t>
            </a:r>
            <a:endParaRPr lang="fi-FI" dirty="0"/>
          </a:p>
        </p:txBody>
      </p:sp>
      <p:sp>
        <p:nvSpPr>
          <p:cNvPr id="3" name="Alaotsikko 2">
            <a:extLst>
              <a:ext uri="{FF2B5EF4-FFF2-40B4-BE49-F238E27FC236}">
                <a16:creationId xmlns:a16="http://schemas.microsoft.com/office/drawing/2014/main" id="{D6B4B423-150F-4BD3-B5A8-5FE8DFE33921}"/>
              </a:ext>
            </a:extLst>
          </p:cNvPr>
          <p:cNvSpPr>
            <a:spLocks noGrp="1"/>
          </p:cNvSpPr>
          <p:nvPr>
            <p:ph type="subTitle" idx="1"/>
          </p:nvPr>
        </p:nvSpPr>
        <p:spPr/>
        <p:txBody>
          <a:bodyPr/>
          <a:lstStyle/>
          <a:p>
            <a:endParaRPr lang="fi-FI" dirty="0"/>
          </a:p>
        </p:txBody>
      </p:sp>
      <p:pic>
        <p:nvPicPr>
          <p:cNvPr id="14" name="Picture Placeholder 13" descr="En blind person tar en buss med en ledarhund.">
            <a:extLst>
              <a:ext uri="{FF2B5EF4-FFF2-40B4-BE49-F238E27FC236}">
                <a16:creationId xmlns:a16="http://schemas.microsoft.com/office/drawing/2014/main" id="{A0D123A4-F312-61B5-4FF4-551E1F523EFD}"/>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val="0"/>
              </a:ext>
            </a:extLst>
          </a:blip>
          <a:srcRect l="3332" t="6054" r="35946"/>
          <a:stretch/>
        </p:blipFill>
        <p:spPr>
          <a:xfrm>
            <a:off x="-21022" y="-21020"/>
            <a:ext cx="6165763" cy="6888830"/>
          </a:xfrm>
        </p:spPr>
      </p:pic>
    </p:spTree>
    <p:extLst>
      <p:ext uri="{BB962C8B-B14F-4D97-AF65-F5344CB8AC3E}">
        <p14:creationId xmlns:p14="http://schemas.microsoft.com/office/powerpoint/2010/main" val="379042373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tsikko 2"/>
          <p:cNvSpPr>
            <a:spLocks noGrp="1"/>
          </p:cNvSpPr>
          <p:nvPr>
            <p:ph type="title"/>
          </p:nvPr>
        </p:nvSpPr>
        <p:spPr>
          <a:xfrm>
            <a:off x="540000" y="360000"/>
            <a:ext cx="11088000" cy="972000"/>
          </a:xfrm>
        </p:spPr>
        <p:txBody>
          <a:bodyPr/>
          <a:lstStyle/>
          <a:p>
            <a:r>
              <a:rPr lang="fi-FI" dirty="0"/>
              <a:t/>
            </a:r>
            <a:br>
              <a:rPr lang="fi-FI" dirty="0"/>
            </a:br>
            <a:r>
              <a:rPr lang="fi-FI" dirty="0" err="1"/>
              <a:t>Målförslag</a:t>
            </a:r>
            <a:r>
              <a:rPr lang="fi-FI" dirty="0"/>
              <a:t>: </a:t>
            </a:r>
            <a:r>
              <a:rPr lang="fi-FI" dirty="0" err="1"/>
              <a:t>transportmedel</a:t>
            </a:r>
            <a:r>
              <a:rPr lang="fi-FI" dirty="0"/>
              <a:t> </a:t>
            </a:r>
          </a:p>
        </p:txBody>
      </p:sp>
      <p:sp>
        <p:nvSpPr>
          <p:cNvPr id="4" name="Tekstin paikkamerkki 3"/>
          <p:cNvSpPr>
            <a:spLocks noGrp="1"/>
          </p:cNvSpPr>
          <p:nvPr>
            <p:ph type="body" sz="quarter" idx="13"/>
          </p:nvPr>
        </p:nvSpPr>
        <p:spPr>
          <a:xfrm>
            <a:off x="539750" y="1692275"/>
            <a:ext cx="4441825" cy="4351338"/>
          </a:xfrm>
        </p:spPr>
        <p:txBody>
          <a:bodyPr/>
          <a:lstStyle/>
          <a:p>
            <a:pPr marL="0" indent="0">
              <a:buNone/>
            </a:pPr>
            <a:r>
              <a:rPr lang="fi-FI" b="1" dirty="0">
                <a:solidFill>
                  <a:schemeClr val="tx2"/>
                </a:solidFill>
              </a:rPr>
              <a:t>1. </a:t>
            </a:r>
            <a:r>
              <a:rPr lang="sv-SE" b="1" dirty="0">
                <a:solidFill>
                  <a:schemeClr val="tx2"/>
                </a:solidFill>
              </a:rPr>
              <a:t>Var och en hittar sin plats i transportmedlet.</a:t>
            </a:r>
          </a:p>
          <a:p>
            <a:pPr marL="0" indent="0">
              <a:buNone/>
            </a:pPr>
            <a:r>
              <a:rPr lang="fi-FI" dirty="0" err="1" smtClean="0"/>
              <a:t>Tillgängliga</a:t>
            </a:r>
            <a:r>
              <a:rPr lang="fi-FI" dirty="0" smtClean="0"/>
              <a:t> </a:t>
            </a:r>
            <a:r>
              <a:rPr lang="fi-FI" dirty="0" err="1"/>
              <a:t>transportmedel</a:t>
            </a:r>
            <a:r>
              <a:rPr lang="fi-FI" dirty="0"/>
              <a:t> </a:t>
            </a:r>
            <a:r>
              <a:rPr lang="fi-FI" dirty="0" err="1"/>
              <a:t>är</a:t>
            </a:r>
            <a:r>
              <a:rPr lang="fi-FI" dirty="0"/>
              <a:t> </a:t>
            </a:r>
            <a:r>
              <a:rPr lang="fi-FI" dirty="0" err="1"/>
              <a:t>trygga</a:t>
            </a:r>
            <a:r>
              <a:rPr lang="fi-FI" dirty="0"/>
              <a:t> för alla </a:t>
            </a:r>
            <a:r>
              <a:rPr lang="fi-FI" dirty="0" err="1"/>
              <a:t>användare</a:t>
            </a:r>
            <a:r>
              <a:rPr lang="fi-FI" dirty="0"/>
              <a:t>. </a:t>
            </a:r>
            <a:r>
              <a:rPr lang="fi-FI" dirty="0" err="1"/>
              <a:t>Transportmedlen</a:t>
            </a:r>
            <a:r>
              <a:rPr lang="fi-FI" dirty="0"/>
              <a:t> </a:t>
            </a:r>
            <a:r>
              <a:rPr lang="fi-FI" dirty="0" err="1"/>
              <a:t>tjänar</a:t>
            </a:r>
            <a:r>
              <a:rPr lang="fi-FI" dirty="0"/>
              <a:t> </a:t>
            </a:r>
            <a:r>
              <a:rPr lang="fi-FI" dirty="0" err="1"/>
              <a:t>så</a:t>
            </a:r>
            <a:r>
              <a:rPr lang="fi-FI" dirty="0"/>
              <a:t> </a:t>
            </a:r>
            <a:r>
              <a:rPr lang="fi-FI" dirty="0" err="1"/>
              <a:t>många</a:t>
            </a:r>
            <a:r>
              <a:rPr lang="fi-FI" dirty="0"/>
              <a:t> </a:t>
            </a:r>
            <a:r>
              <a:rPr lang="fi-FI" dirty="0" err="1"/>
              <a:t>typer</a:t>
            </a:r>
            <a:r>
              <a:rPr lang="fi-FI" dirty="0"/>
              <a:t> av </a:t>
            </a:r>
            <a:r>
              <a:rPr lang="fi-FI" dirty="0" err="1"/>
              <a:t>behov</a:t>
            </a:r>
            <a:r>
              <a:rPr lang="fi-FI" dirty="0"/>
              <a:t> </a:t>
            </a:r>
            <a:r>
              <a:rPr lang="fi-FI" dirty="0" err="1"/>
              <a:t>som</a:t>
            </a:r>
            <a:r>
              <a:rPr lang="fi-FI" dirty="0"/>
              <a:t> </a:t>
            </a:r>
            <a:r>
              <a:rPr lang="fi-FI" dirty="0" err="1"/>
              <a:t>möjligt</a:t>
            </a:r>
            <a:r>
              <a:rPr lang="fi-FI" dirty="0"/>
              <a:t> </a:t>
            </a:r>
            <a:r>
              <a:rPr lang="fi-FI" dirty="0" err="1"/>
              <a:t>och</a:t>
            </a:r>
            <a:r>
              <a:rPr lang="fi-FI" dirty="0"/>
              <a:t> </a:t>
            </a:r>
            <a:r>
              <a:rPr lang="fi-FI" dirty="0" err="1"/>
              <a:t>det</a:t>
            </a:r>
            <a:r>
              <a:rPr lang="fi-FI" dirty="0"/>
              <a:t> </a:t>
            </a:r>
            <a:r>
              <a:rPr lang="fi-FI" dirty="0" err="1"/>
              <a:t>finns</a:t>
            </a:r>
            <a:r>
              <a:rPr lang="fi-FI" dirty="0"/>
              <a:t> </a:t>
            </a:r>
            <a:r>
              <a:rPr lang="fi-FI" dirty="0" err="1"/>
              <a:t>lämplig</a:t>
            </a:r>
            <a:r>
              <a:rPr lang="fi-FI" dirty="0"/>
              <a:t> </a:t>
            </a:r>
            <a:r>
              <a:rPr lang="fi-FI" dirty="0" err="1"/>
              <a:t>materiel</a:t>
            </a:r>
            <a:r>
              <a:rPr lang="fi-FI" dirty="0"/>
              <a:t> för alla </a:t>
            </a:r>
            <a:r>
              <a:rPr lang="fi-FI" dirty="0" err="1"/>
              <a:t>användare</a:t>
            </a:r>
            <a:r>
              <a:rPr lang="fi-FI" dirty="0"/>
              <a:t>. </a:t>
            </a:r>
            <a:r>
              <a:rPr lang="fi-FI" dirty="0" err="1"/>
              <a:t>Trafikutövare</a:t>
            </a:r>
            <a:r>
              <a:rPr lang="fi-FI" dirty="0"/>
              <a:t> </a:t>
            </a:r>
            <a:r>
              <a:rPr lang="fi-FI" dirty="0" err="1"/>
              <a:t>och</a:t>
            </a:r>
            <a:r>
              <a:rPr lang="fi-FI" dirty="0"/>
              <a:t> </a:t>
            </a:r>
            <a:r>
              <a:rPr lang="fi-FI" dirty="0" err="1"/>
              <a:t>aktörer</a:t>
            </a:r>
            <a:r>
              <a:rPr lang="fi-FI" dirty="0"/>
              <a:t> </a:t>
            </a:r>
            <a:r>
              <a:rPr lang="fi-FI" dirty="0" err="1"/>
              <a:t>som</a:t>
            </a:r>
            <a:r>
              <a:rPr lang="fi-FI" dirty="0"/>
              <a:t> </a:t>
            </a:r>
            <a:r>
              <a:rPr lang="fi-FI" dirty="0" err="1"/>
              <a:t>ansvarar</a:t>
            </a:r>
            <a:r>
              <a:rPr lang="fi-FI" dirty="0"/>
              <a:t> för </a:t>
            </a:r>
            <a:r>
              <a:rPr lang="fi-FI" dirty="0" err="1"/>
              <a:t>terminal-</a:t>
            </a:r>
            <a:r>
              <a:rPr lang="fi-FI" dirty="0"/>
              <a:t> </a:t>
            </a:r>
            <a:r>
              <a:rPr lang="fi-FI" dirty="0" err="1"/>
              <a:t>eller</a:t>
            </a:r>
            <a:r>
              <a:rPr lang="fi-FI" dirty="0"/>
              <a:t> </a:t>
            </a:r>
            <a:r>
              <a:rPr lang="fi-FI" dirty="0" err="1"/>
              <a:t>hamnverksamhet</a:t>
            </a:r>
            <a:r>
              <a:rPr lang="fi-FI" dirty="0"/>
              <a:t> </a:t>
            </a:r>
            <a:r>
              <a:rPr lang="fi-FI" dirty="0" err="1"/>
              <a:t>tillhandahåller</a:t>
            </a:r>
            <a:r>
              <a:rPr lang="fi-FI" dirty="0"/>
              <a:t> </a:t>
            </a:r>
            <a:r>
              <a:rPr lang="fi-FI" dirty="0" err="1"/>
              <a:t>olika</a:t>
            </a:r>
            <a:r>
              <a:rPr lang="fi-FI" dirty="0"/>
              <a:t> </a:t>
            </a:r>
            <a:r>
              <a:rPr lang="fi-FI" dirty="0" err="1"/>
              <a:t>hjälpmedel</a:t>
            </a:r>
            <a:r>
              <a:rPr lang="fi-FI" dirty="0"/>
              <a:t> </a:t>
            </a:r>
            <a:r>
              <a:rPr lang="fi-FI" dirty="0" err="1"/>
              <a:t>när</a:t>
            </a:r>
            <a:r>
              <a:rPr lang="fi-FI" dirty="0"/>
              <a:t> </a:t>
            </a:r>
            <a:r>
              <a:rPr lang="fi-FI" dirty="0" err="1"/>
              <a:t>det</a:t>
            </a:r>
            <a:r>
              <a:rPr lang="fi-FI" dirty="0"/>
              <a:t> </a:t>
            </a:r>
            <a:r>
              <a:rPr lang="fi-FI" dirty="0" err="1"/>
              <a:t>behövs</a:t>
            </a:r>
            <a:r>
              <a:rPr lang="fi-FI" dirty="0"/>
              <a:t>. </a:t>
            </a:r>
            <a:r>
              <a:rPr lang="fi-FI" dirty="0" err="1"/>
              <a:t>Det</a:t>
            </a:r>
            <a:r>
              <a:rPr lang="fi-FI" dirty="0"/>
              <a:t> </a:t>
            </a:r>
            <a:r>
              <a:rPr lang="fi-FI" dirty="0" err="1"/>
              <a:t>är</a:t>
            </a:r>
            <a:r>
              <a:rPr lang="fi-FI" dirty="0"/>
              <a:t> </a:t>
            </a:r>
            <a:r>
              <a:rPr lang="fi-FI" dirty="0" err="1"/>
              <a:t>viktigt</a:t>
            </a:r>
            <a:r>
              <a:rPr lang="fi-FI" dirty="0"/>
              <a:t> </a:t>
            </a:r>
            <a:r>
              <a:rPr lang="fi-FI" dirty="0" err="1"/>
              <a:t>att</a:t>
            </a:r>
            <a:r>
              <a:rPr lang="fi-FI" dirty="0"/>
              <a:t> </a:t>
            </a:r>
            <a:r>
              <a:rPr lang="fi-FI" dirty="0" err="1"/>
              <a:t>man</a:t>
            </a:r>
            <a:r>
              <a:rPr lang="fi-FI" dirty="0"/>
              <a:t> </a:t>
            </a:r>
            <a:r>
              <a:rPr lang="fi-FI" dirty="0" err="1"/>
              <a:t>kan</a:t>
            </a:r>
            <a:r>
              <a:rPr lang="fi-FI" dirty="0"/>
              <a:t> </a:t>
            </a:r>
            <a:r>
              <a:rPr lang="fi-FI" dirty="0" err="1"/>
              <a:t>röra</a:t>
            </a:r>
            <a:r>
              <a:rPr lang="fi-FI" dirty="0"/>
              <a:t> </a:t>
            </a:r>
            <a:r>
              <a:rPr lang="fi-FI" dirty="0" err="1"/>
              <a:t>sig</a:t>
            </a:r>
            <a:r>
              <a:rPr lang="fi-FI" dirty="0"/>
              <a:t> </a:t>
            </a:r>
            <a:r>
              <a:rPr lang="fi-FI" dirty="0" err="1"/>
              <a:t>smidigt</a:t>
            </a:r>
            <a:r>
              <a:rPr lang="fi-FI" dirty="0"/>
              <a:t> i </a:t>
            </a:r>
            <a:r>
              <a:rPr lang="fi-FI" dirty="0" err="1"/>
              <a:t>transportmedlet</a:t>
            </a:r>
            <a:r>
              <a:rPr lang="fi-FI" dirty="0"/>
              <a:t> </a:t>
            </a:r>
            <a:r>
              <a:rPr lang="fi-FI" dirty="0" err="1"/>
              <a:t>också</a:t>
            </a:r>
            <a:r>
              <a:rPr lang="fi-FI" dirty="0"/>
              <a:t> </a:t>
            </a:r>
            <a:r>
              <a:rPr lang="fi-FI" dirty="0" err="1"/>
              <a:t>med</a:t>
            </a:r>
            <a:r>
              <a:rPr lang="fi-FI" dirty="0"/>
              <a:t> </a:t>
            </a:r>
            <a:r>
              <a:rPr lang="fi-FI" dirty="0" err="1"/>
              <a:t>egna</a:t>
            </a:r>
            <a:r>
              <a:rPr lang="fi-FI" dirty="0"/>
              <a:t> </a:t>
            </a:r>
            <a:r>
              <a:rPr lang="fi-FI" dirty="0" err="1"/>
              <a:t>hjälpmedel</a:t>
            </a:r>
            <a:r>
              <a:rPr lang="fi-FI" dirty="0"/>
              <a:t>. </a:t>
            </a:r>
            <a:endParaRPr lang="sv-FI" dirty="0" smtClean="0"/>
          </a:p>
          <a:p>
            <a:pPr marL="0" indent="0">
              <a:buNone/>
            </a:pPr>
            <a:endParaRPr lang="fi-FI" dirty="0"/>
          </a:p>
        </p:txBody>
      </p:sp>
      <p:sp>
        <p:nvSpPr>
          <p:cNvPr id="8" name="Text Placeholder 7">
            <a:extLst>
              <a:ext uri="{FF2B5EF4-FFF2-40B4-BE49-F238E27FC236}">
                <a16:creationId xmlns:a16="http://schemas.microsoft.com/office/drawing/2014/main" id="{A79CB4FD-7FAA-4EC3-2F70-718470A4D9E4}"/>
              </a:ext>
            </a:extLst>
          </p:cNvPr>
          <p:cNvSpPr>
            <a:spLocks noGrp="1"/>
          </p:cNvSpPr>
          <p:nvPr>
            <p:ph type="body" sz="quarter" idx="14"/>
          </p:nvPr>
        </p:nvSpPr>
        <p:spPr>
          <a:xfrm>
            <a:off x="5600700" y="1692275"/>
            <a:ext cx="6027738" cy="4351338"/>
          </a:xfrm>
        </p:spPr>
        <p:txBody>
          <a:bodyPr/>
          <a:lstStyle/>
          <a:p>
            <a:pPr marL="0" indent="0">
              <a:buNone/>
            </a:pPr>
            <a:r>
              <a:rPr lang="fi-FI" b="1" dirty="0">
                <a:solidFill>
                  <a:schemeClr val="tx2"/>
                </a:solidFill>
              </a:rPr>
              <a:t>2. </a:t>
            </a:r>
            <a:r>
              <a:rPr lang="sv-SE" b="1" dirty="0">
                <a:solidFill>
                  <a:schemeClr val="tx2"/>
                </a:solidFill>
              </a:rPr>
              <a:t>Aktörerna har förståelse för och kan uppfylla särskilda behov.</a:t>
            </a:r>
          </a:p>
          <a:p>
            <a:pPr marL="0" indent="0">
              <a:buNone/>
            </a:pPr>
            <a:r>
              <a:rPr lang="sv-SE" dirty="0"/>
              <a:t>Aktörerna har förståelse för och kan uppfylla särskilda behov. Tjänsteleverantörer och tjänsteproducenter identifierar grupper med särskilda behov och de tjänster och den hjälp som de behöver. En kompetent och motiverad personal ser till att alla passagerare får korrekt och vänlig service</a:t>
            </a:r>
            <a:r>
              <a:rPr lang="sv-SE" dirty="0" smtClean="0"/>
              <a:t>.</a:t>
            </a:r>
          </a:p>
          <a:p>
            <a:pPr marL="0" indent="0">
              <a:buNone/>
            </a:pPr>
            <a:endParaRPr lang="sv-SE" dirty="0"/>
          </a:p>
          <a:p>
            <a:pPr marL="0" indent="0">
              <a:buNone/>
            </a:pPr>
            <a:r>
              <a:rPr lang="sv-SE" dirty="0"/>
              <a:t> </a:t>
            </a:r>
            <a:r>
              <a:rPr lang="fi-FI" b="1" dirty="0" smtClean="0">
                <a:solidFill>
                  <a:schemeClr val="tx2"/>
                </a:solidFill>
              </a:rPr>
              <a:t>3</a:t>
            </a:r>
            <a:r>
              <a:rPr lang="fi-FI" b="1" dirty="0">
                <a:solidFill>
                  <a:schemeClr val="tx2"/>
                </a:solidFill>
              </a:rPr>
              <a:t>. </a:t>
            </a:r>
            <a:r>
              <a:rPr lang="sv-SE" b="1" dirty="0">
                <a:solidFill>
                  <a:schemeClr val="tx2"/>
                </a:solidFill>
              </a:rPr>
              <a:t>Reseinformation tillhandahålls i tillgängligt format i alla kollektivtrafikmedel.</a:t>
            </a:r>
          </a:p>
          <a:p>
            <a:pPr marL="0" indent="0">
              <a:buNone/>
            </a:pPr>
            <a:r>
              <a:rPr lang="sv-SE" dirty="0"/>
              <a:t>Reseinformation tillhandahålls i tillgängligt format i alla kollektivtrafikmedel. Alla passagerare kan följa resans gång via utrop, skärmar och applikationer på det sätt som passar dem själva bäst. Information tillhandahålls multisensoriskt så att användargrupper med olika behov kan följa till exempel den information om hållplatser och störningar som ges under resan.</a:t>
            </a:r>
          </a:p>
          <a:p>
            <a:pPr marL="0" indent="0">
              <a:buNone/>
            </a:pPr>
            <a:endParaRPr lang="en-FI" dirty="0"/>
          </a:p>
        </p:txBody>
      </p:sp>
      <p:sp>
        <p:nvSpPr>
          <p:cNvPr id="5" name="Päivämäärän paikkamerkki 4"/>
          <p:cNvSpPr>
            <a:spLocks noGrp="1"/>
          </p:cNvSpPr>
          <p:nvPr>
            <p:ph type="dt" sz="half" idx="15"/>
          </p:nvPr>
        </p:nvSpPr>
        <p:spPr>
          <a:xfrm>
            <a:off x="1574127" y="6462511"/>
            <a:ext cx="732232" cy="180001"/>
          </a:xfrm>
        </p:spPr>
        <p:txBody>
          <a:bodyPr/>
          <a:lstStyle/>
          <a:p>
            <a:endParaRPr lang="fi-FI" dirty="0"/>
          </a:p>
        </p:txBody>
      </p:sp>
      <p:sp>
        <p:nvSpPr>
          <p:cNvPr id="6" name="Alatunnisteen paikkamerkki 5"/>
          <p:cNvSpPr>
            <a:spLocks noGrp="1"/>
          </p:cNvSpPr>
          <p:nvPr>
            <p:ph type="ftr" sz="quarter" idx="16"/>
          </p:nvPr>
        </p:nvSpPr>
        <p:spPr>
          <a:xfrm>
            <a:off x="2327401" y="6462511"/>
            <a:ext cx="4441819" cy="180001"/>
          </a:xfrm>
        </p:spPr>
        <p:txBody>
          <a:bodyPr/>
          <a:lstStyle/>
          <a:p>
            <a:endParaRPr lang="fi-FI" dirty="0"/>
          </a:p>
        </p:txBody>
      </p:sp>
      <p:sp>
        <p:nvSpPr>
          <p:cNvPr id="7" name="Dian numeron paikkamerkki 6"/>
          <p:cNvSpPr>
            <a:spLocks noGrp="1"/>
          </p:cNvSpPr>
          <p:nvPr>
            <p:ph type="sldNum" sz="quarter" idx="17"/>
          </p:nvPr>
        </p:nvSpPr>
        <p:spPr>
          <a:xfrm>
            <a:off x="1233227" y="6462512"/>
            <a:ext cx="323834" cy="180000"/>
          </a:xfrm>
        </p:spPr>
        <p:txBody>
          <a:bodyPr/>
          <a:lstStyle/>
          <a:p>
            <a:fld id="{628F3778-6073-48C0-8E18-EFC09B82139A}" type="slidenum">
              <a:rPr lang="fi-FI" smtClean="0"/>
              <a:pPr/>
              <a:t>10</a:t>
            </a:fld>
            <a:endParaRPr lang="fi-FI"/>
          </a:p>
        </p:txBody>
      </p:sp>
    </p:spTree>
    <p:extLst>
      <p:ext uri="{BB962C8B-B14F-4D97-AF65-F5344CB8AC3E}">
        <p14:creationId xmlns:p14="http://schemas.microsoft.com/office/powerpoint/2010/main" val="286772817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tsikko 2"/>
          <p:cNvSpPr>
            <a:spLocks noGrp="1"/>
          </p:cNvSpPr>
          <p:nvPr>
            <p:ph type="title"/>
          </p:nvPr>
        </p:nvSpPr>
        <p:spPr>
          <a:xfrm>
            <a:off x="540000" y="360000"/>
            <a:ext cx="11088000" cy="972000"/>
          </a:xfrm>
        </p:spPr>
        <p:txBody>
          <a:bodyPr/>
          <a:lstStyle/>
          <a:p>
            <a:r>
              <a:rPr lang="fi-FI" dirty="0" err="1"/>
              <a:t>Förslag</a:t>
            </a:r>
            <a:r>
              <a:rPr lang="fi-FI" dirty="0"/>
              <a:t> </a:t>
            </a:r>
            <a:r>
              <a:rPr lang="fi-FI" dirty="0" err="1"/>
              <a:t>till</a:t>
            </a:r>
            <a:r>
              <a:rPr lang="fi-FI" dirty="0"/>
              <a:t> </a:t>
            </a:r>
            <a:r>
              <a:rPr lang="fi-FI" dirty="0" err="1"/>
              <a:t>mål</a:t>
            </a:r>
            <a:r>
              <a:rPr lang="fi-FI" dirty="0"/>
              <a:t>: </a:t>
            </a:r>
            <a:r>
              <a:rPr lang="fi-FI" dirty="0" err="1"/>
              <a:t>tillgänglighetsinformation</a:t>
            </a:r>
            <a:r>
              <a:rPr lang="fi-FI" dirty="0"/>
              <a:t> </a:t>
            </a:r>
          </a:p>
        </p:txBody>
      </p:sp>
      <p:sp>
        <p:nvSpPr>
          <p:cNvPr id="4" name="Tekstin paikkamerkki 3"/>
          <p:cNvSpPr>
            <a:spLocks noGrp="1"/>
          </p:cNvSpPr>
          <p:nvPr>
            <p:ph type="body" sz="quarter" idx="13"/>
          </p:nvPr>
        </p:nvSpPr>
        <p:spPr>
          <a:xfrm>
            <a:off x="539750" y="1692275"/>
            <a:ext cx="4842741" cy="4351338"/>
          </a:xfrm>
        </p:spPr>
        <p:txBody>
          <a:bodyPr/>
          <a:lstStyle/>
          <a:p>
            <a:pPr marL="0" indent="0">
              <a:buNone/>
            </a:pPr>
            <a:r>
              <a:rPr lang="fi-FI" b="1" dirty="0">
                <a:solidFill>
                  <a:schemeClr val="tx2"/>
                </a:solidFill>
              </a:rPr>
              <a:t>1. </a:t>
            </a:r>
            <a:r>
              <a:rPr lang="sv-SE" b="1" dirty="0">
                <a:solidFill>
                  <a:schemeClr val="tx2"/>
                </a:solidFill>
              </a:rPr>
              <a:t>Passagerarna ges aktuell och tillförlitlig tillgänglighetsinformation om tjänster och infrastruktur.</a:t>
            </a:r>
          </a:p>
          <a:p>
            <a:pPr marL="0" indent="0">
              <a:buNone/>
            </a:pPr>
            <a:r>
              <a:rPr lang="sv-SE" dirty="0" smtClean="0"/>
              <a:t>Den </a:t>
            </a:r>
            <a:r>
              <a:rPr lang="sv-SE" dirty="0"/>
              <a:t>tillgänglighetsinformation som passageraren har tillgång till hjälper olika kategorier av passagerare välja den lämpligaste tjänsten och köpa de biljetter de behöver. För användaren är det också viktigt att veta vad som avses med tillgänglighetsinformation i olika tjänster. </a:t>
            </a:r>
          </a:p>
          <a:p>
            <a:pPr marL="0" indent="0">
              <a:buNone/>
            </a:pPr>
            <a:endParaRPr lang="sv-SE" dirty="0"/>
          </a:p>
          <a:p>
            <a:pPr marL="0" indent="0">
              <a:buNone/>
            </a:pPr>
            <a:endParaRPr lang="sv-SE" dirty="0"/>
          </a:p>
        </p:txBody>
      </p:sp>
      <p:sp>
        <p:nvSpPr>
          <p:cNvPr id="8" name="Text Placeholder 7">
            <a:extLst>
              <a:ext uri="{FF2B5EF4-FFF2-40B4-BE49-F238E27FC236}">
                <a16:creationId xmlns:a16="http://schemas.microsoft.com/office/drawing/2014/main" id="{23CBE7CE-5E53-7441-750E-E4A0FA69D69F}"/>
              </a:ext>
            </a:extLst>
          </p:cNvPr>
          <p:cNvSpPr>
            <a:spLocks noGrp="1"/>
          </p:cNvSpPr>
          <p:nvPr>
            <p:ph type="body" sz="quarter" idx="14"/>
          </p:nvPr>
        </p:nvSpPr>
        <p:spPr>
          <a:xfrm>
            <a:off x="6096000" y="1692275"/>
            <a:ext cx="5532438" cy="4351338"/>
          </a:xfrm>
        </p:spPr>
        <p:txBody>
          <a:bodyPr/>
          <a:lstStyle/>
          <a:p>
            <a:pPr marL="0" indent="0">
              <a:buNone/>
            </a:pPr>
            <a:r>
              <a:rPr lang="fi-FI" b="1" dirty="0">
                <a:solidFill>
                  <a:schemeClr val="tx2"/>
                </a:solidFill>
              </a:rPr>
              <a:t>2</a:t>
            </a:r>
            <a:r>
              <a:rPr lang="fi-FI" b="1" dirty="0" smtClean="0">
                <a:solidFill>
                  <a:schemeClr val="tx2"/>
                </a:solidFill>
              </a:rPr>
              <a:t>.</a:t>
            </a:r>
            <a:r>
              <a:rPr lang="sv-SE" b="1" dirty="0">
                <a:solidFill>
                  <a:schemeClr val="tx2"/>
                </a:solidFill>
              </a:rPr>
              <a:t> </a:t>
            </a:r>
            <a:r>
              <a:rPr lang="sv-SE" b="1" dirty="0" smtClean="0">
                <a:solidFill>
                  <a:schemeClr val="tx2"/>
                </a:solidFill>
              </a:rPr>
              <a:t>Informationen </a:t>
            </a:r>
            <a:r>
              <a:rPr lang="sv-SE" b="1" dirty="0">
                <a:solidFill>
                  <a:schemeClr val="tx2"/>
                </a:solidFill>
              </a:rPr>
              <a:t>om tjänstens tillgänglighet är lätt att hitta och nå (</a:t>
            </a:r>
            <a:r>
              <a:rPr lang="sv-SE" b="1" dirty="0" err="1">
                <a:solidFill>
                  <a:schemeClr val="tx2"/>
                </a:solidFill>
              </a:rPr>
              <a:t>one</a:t>
            </a:r>
            <a:r>
              <a:rPr lang="sv-SE" b="1" dirty="0">
                <a:solidFill>
                  <a:schemeClr val="tx2"/>
                </a:solidFill>
              </a:rPr>
              <a:t> </a:t>
            </a:r>
            <a:r>
              <a:rPr lang="sv-SE" b="1" dirty="0" err="1">
                <a:solidFill>
                  <a:schemeClr val="tx2"/>
                </a:solidFill>
              </a:rPr>
              <a:t>click</a:t>
            </a:r>
            <a:r>
              <a:rPr lang="sv-SE" b="1" dirty="0">
                <a:solidFill>
                  <a:schemeClr val="tx2"/>
                </a:solidFill>
              </a:rPr>
              <a:t> </a:t>
            </a:r>
            <a:r>
              <a:rPr lang="sv-SE" b="1" dirty="0" err="1">
                <a:solidFill>
                  <a:schemeClr val="tx2"/>
                </a:solidFill>
              </a:rPr>
              <a:t>away</a:t>
            </a:r>
            <a:r>
              <a:rPr lang="sv-SE" b="1" dirty="0" smtClean="0">
                <a:solidFill>
                  <a:schemeClr val="tx2"/>
                </a:solidFill>
              </a:rPr>
              <a:t>)</a:t>
            </a:r>
            <a:r>
              <a:rPr lang="fi-FI" b="1" dirty="0" smtClean="0">
                <a:solidFill>
                  <a:schemeClr val="tx2"/>
                </a:solidFill>
              </a:rPr>
              <a:t>. </a:t>
            </a:r>
            <a:endParaRPr lang="fi-FI" b="1" dirty="0">
              <a:solidFill>
                <a:schemeClr val="tx2"/>
              </a:solidFill>
            </a:endParaRPr>
          </a:p>
          <a:p>
            <a:pPr marL="0" indent="0">
              <a:buNone/>
            </a:pPr>
            <a:r>
              <a:rPr lang="sv-SE" dirty="0"/>
              <a:t>Webbplatser och andra informationskanaler struktureras så att passageraren där lätt kan hitta den tillgänglighetsinformation som behövs om den aktuella tjänsten, helst bara med ett klick. </a:t>
            </a:r>
          </a:p>
          <a:p>
            <a:pPr marL="0" indent="0">
              <a:spcBef>
                <a:spcPts val="2400"/>
              </a:spcBef>
              <a:buNone/>
            </a:pPr>
            <a:r>
              <a:rPr lang="fi-FI" b="1" dirty="0" smtClean="0">
                <a:solidFill>
                  <a:schemeClr val="tx2"/>
                </a:solidFill>
              </a:rPr>
              <a:t>3</a:t>
            </a:r>
            <a:r>
              <a:rPr lang="fi-FI" b="1" dirty="0">
                <a:solidFill>
                  <a:schemeClr val="tx2"/>
                </a:solidFill>
              </a:rPr>
              <a:t>. </a:t>
            </a:r>
            <a:r>
              <a:rPr lang="sv-SE" b="1" dirty="0">
                <a:solidFill>
                  <a:schemeClr val="tx2"/>
                </a:solidFill>
              </a:rPr>
              <a:t>Data om tillgänglighet finns att tillgå öppet i maskinläsbart och standardiserat format.</a:t>
            </a:r>
          </a:p>
          <a:p>
            <a:pPr marL="0" indent="0">
              <a:buNone/>
            </a:pPr>
            <a:r>
              <a:rPr lang="sv-SE" dirty="0" smtClean="0"/>
              <a:t>Tillgänglighetsinformationen </a:t>
            </a:r>
            <a:r>
              <a:rPr lang="sv-SE" dirty="0"/>
              <a:t>förmedlas mellan aktörerna och vidare via användargränssnitten till användarna. Tillgänglighetsinformationen ska omfatta både statiska data, exempelvis att tillgängliga tjänster finns, och realtidsdata, exempelvis störningsmeddelanden</a:t>
            </a:r>
            <a:r>
              <a:rPr lang="sv-SE" dirty="0" smtClean="0"/>
              <a:t>.</a:t>
            </a:r>
            <a:endParaRPr lang="fi-FI" dirty="0"/>
          </a:p>
          <a:p>
            <a:pPr marL="0" indent="0">
              <a:buNone/>
            </a:pPr>
            <a:endParaRPr lang="en-FI" dirty="0"/>
          </a:p>
        </p:txBody>
      </p:sp>
      <p:sp>
        <p:nvSpPr>
          <p:cNvPr id="5" name="Päivämäärän paikkamerkki 4"/>
          <p:cNvSpPr>
            <a:spLocks noGrp="1"/>
          </p:cNvSpPr>
          <p:nvPr>
            <p:ph type="dt" sz="half" idx="15"/>
          </p:nvPr>
        </p:nvSpPr>
        <p:spPr>
          <a:xfrm>
            <a:off x="1574127" y="6462511"/>
            <a:ext cx="732232" cy="180001"/>
          </a:xfrm>
        </p:spPr>
        <p:txBody>
          <a:bodyPr/>
          <a:lstStyle/>
          <a:p>
            <a:fld id="{4CBB4192-9318-4B3B-B74F-5996198BFC81}" type="datetime1">
              <a:rPr lang="fi-FI" smtClean="0"/>
              <a:pPr/>
              <a:t>26.6.2023</a:t>
            </a:fld>
            <a:endParaRPr lang="fi-FI"/>
          </a:p>
        </p:txBody>
      </p:sp>
      <p:sp>
        <p:nvSpPr>
          <p:cNvPr id="6" name="Alatunnisteen paikkamerkki 5"/>
          <p:cNvSpPr>
            <a:spLocks noGrp="1"/>
          </p:cNvSpPr>
          <p:nvPr>
            <p:ph type="ftr" sz="quarter" idx="16"/>
          </p:nvPr>
        </p:nvSpPr>
        <p:spPr>
          <a:xfrm>
            <a:off x="2327401" y="6462511"/>
            <a:ext cx="4441819" cy="180001"/>
          </a:xfrm>
        </p:spPr>
        <p:txBody>
          <a:bodyPr/>
          <a:lstStyle/>
          <a:p>
            <a:endParaRPr lang="fi-FI" dirty="0"/>
          </a:p>
        </p:txBody>
      </p:sp>
      <p:sp>
        <p:nvSpPr>
          <p:cNvPr id="7" name="Dian numeron paikkamerkki 6"/>
          <p:cNvSpPr>
            <a:spLocks noGrp="1"/>
          </p:cNvSpPr>
          <p:nvPr>
            <p:ph type="sldNum" sz="quarter" idx="17"/>
          </p:nvPr>
        </p:nvSpPr>
        <p:spPr>
          <a:xfrm>
            <a:off x="1233227" y="6462512"/>
            <a:ext cx="323834" cy="180000"/>
          </a:xfrm>
        </p:spPr>
        <p:txBody>
          <a:bodyPr/>
          <a:lstStyle/>
          <a:p>
            <a:fld id="{628F3778-6073-48C0-8E18-EFC09B82139A}" type="slidenum">
              <a:rPr lang="fi-FI" smtClean="0"/>
              <a:pPr/>
              <a:t>11</a:t>
            </a:fld>
            <a:endParaRPr lang="fi-FI"/>
          </a:p>
        </p:txBody>
      </p:sp>
    </p:spTree>
    <p:extLst>
      <p:ext uri="{BB962C8B-B14F-4D97-AF65-F5344CB8AC3E}">
        <p14:creationId xmlns:p14="http://schemas.microsoft.com/office/powerpoint/2010/main" val="419909759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tsikko 2">
            <a:extLst>
              <a:ext uri="{FF2B5EF4-FFF2-40B4-BE49-F238E27FC236}">
                <a16:creationId xmlns:a16="http://schemas.microsoft.com/office/drawing/2014/main" id="{88235BEE-7FE6-422D-9B78-5EBD9C70DF76}"/>
              </a:ext>
            </a:extLst>
          </p:cNvPr>
          <p:cNvSpPr>
            <a:spLocks noGrp="1"/>
          </p:cNvSpPr>
          <p:nvPr>
            <p:ph type="title"/>
          </p:nvPr>
        </p:nvSpPr>
        <p:spPr>
          <a:xfrm>
            <a:off x="539999" y="360000"/>
            <a:ext cx="10063345" cy="574069"/>
          </a:xfrm>
        </p:spPr>
        <p:txBody>
          <a:bodyPr/>
          <a:lstStyle/>
          <a:p>
            <a:r>
              <a:rPr lang="fi-FI" dirty="0" err="1" smtClean="0"/>
              <a:t>Tidsplan</a:t>
            </a:r>
            <a:endParaRPr lang="fi-FI" dirty="0"/>
          </a:p>
        </p:txBody>
      </p:sp>
      <p:sp>
        <p:nvSpPr>
          <p:cNvPr id="4" name="Tekstin paikkamerkki 3">
            <a:extLst>
              <a:ext uri="{FF2B5EF4-FFF2-40B4-BE49-F238E27FC236}">
                <a16:creationId xmlns:a16="http://schemas.microsoft.com/office/drawing/2014/main" id="{8D9938CC-4EA6-48C7-8403-009F891D9923}"/>
              </a:ext>
            </a:extLst>
          </p:cNvPr>
          <p:cNvSpPr>
            <a:spLocks noGrp="1"/>
          </p:cNvSpPr>
          <p:nvPr>
            <p:ph type="body" sz="quarter" idx="14"/>
          </p:nvPr>
        </p:nvSpPr>
        <p:spPr>
          <a:xfrm>
            <a:off x="556961" y="1215780"/>
            <a:ext cx="8856290" cy="1900468"/>
          </a:xfrm>
        </p:spPr>
        <p:txBody>
          <a:bodyPr/>
          <a:lstStyle/>
          <a:p>
            <a:r>
              <a:rPr lang="sv-SE" dirty="0"/>
              <a:t>Arbetet med visionen fortsätter under 2024 genom planering av åtgärderna. Dessutom utnyttjas visionen bl.a. vid uppdateringen av </a:t>
            </a:r>
            <a:r>
              <a:rPr lang="sv-SE" dirty="0" smtClean="0"/>
              <a:t>den trafiksystemplanen (Trafik 12) </a:t>
            </a:r>
            <a:r>
              <a:rPr lang="sv-SE" dirty="0"/>
              <a:t>och vid utarbetandet av eventuella andra åtgärdsprogram</a:t>
            </a:r>
            <a:r>
              <a:rPr lang="sv-SE" dirty="0" smtClean="0"/>
              <a:t>.</a:t>
            </a:r>
          </a:p>
          <a:p>
            <a:endParaRPr lang="fi-FI" dirty="0"/>
          </a:p>
        </p:txBody>
      </p:sp>
      <p:sp>
        <p:nvSpPr>
          <p:cNvPr id="5" name="Päivämäärän paikkamerkki 4">
            <a:extLst>
              <a:ext uri="{FF2B5EF4-FFF2-40B4-BE49-F238E27FC236}">
                <a16:creationId xmlns:a16="http://schemas.microsoft.com/office/drawing/2014/main" id="{287DF808-440A-49EB-AC54-62C385FA09A9}"/>
              </a:ext>
            </a:extLst>
          </p:cNvPr>
          <p:cNvSpPr>
            <a:spLocks noGrp="1"/>
          </p:cNvSpPr>
          <p:nvPr>
            <p:ph type="dt" sz="half" idx="15"/>
          </p:nvPr>
        </p:nvSpPr>
        <p:spPr/>
        <p:txBody>
          <a:bodyPr/>
          <a:lstStyle/>
          <a:p>
            <a:fld id="{4CBB4192-9318-4B3B-B74F-5996198BFC81}" type="datetime1">
              <a:rPr lang="fi-FI" smtClean="0"/>
              <a:t>26.6.2023</a:t>
            </a:fld>
            <a:endParaRPr lang="fi-FI"/>
          </a:p>
        </p:txBody>
      </p:sp>
      <p:sp>
        <p:nvSpPr>
          <p:cNvPr id="6" name="Alatunnisteen paikkamerkki 5">
            <a:extLst>
              <a:ext uri="{FF2B5EF4-FFF2-40B4-BE49-F238E27FC236}">
                <a16:creationId xmlns:a16="http://schemas.microsoft.com/office/drawing/2014/main" id="{A1982171-4C91-4609-A6A2-5868D0A59B8F}"/>
              </a:ext>
            </a:extLst>
          </p:cNvPr>
          <p:cNvSpPr>
            <a:spLocks noGrp="1"/>
          </p:cNvSpPr>
          <p:nvPr>
            <p:ph type="ftr" sz="quarter" idx="16"/>
          </p:nvPr>
        </p:nvSpPr>
        <p:spPr/>
        <p:txBody>
          <a:bodyPr/>
          <a:lstStyle/>
          <a:p>
            <a:endParaRPr lang="fi-FI" dirty="0"/>
          </a:p>
        </p:txBody>
      </p:sp>
      <p:sp>
        <p:nvSpPr>
          <p:cNvPr id="7" name="Dian numeron paikkamerkki 6">
            <a:extLst>
              <a:ext uri="{FF2B5EF4-FFF2-40B4-BE49-F238E27FC236}">
                <a16:creationId xmlns:a16="http://schemas.microsoft.com/office/drawing/2014/main" id="{3F530024-02DE-4013-975E-D7C13D3C3CFE}"/>
              </a:ext>
            </a:extLst>
          </p:cNvPr>
          <p:cNvSpPr>
            <a:spLocks noGrp="1"/>
          </p:cNvSpPr>
          <p:nvPr>
            <p:ph type="sldNum" sz="quarter" idx="17"/>
          </p:nvPr>
        </p:nvSpPr>
        <p:spPr/>
        <p:txBody>
          <a:bodyPr/>
          <a:lstStyle/>
          <a:p>
            <a:fld id="{628F3778-6073-48C0-8E18-EFC09B82139A}" type="slidenum">
              <a:rPr lang="fi-FI" smtClean="0"/>
              <a:pPr/>
              <a:t>12</a:t>
            </a:fld>
            <a:endParaRPr lang="fi-FI"/>
          </a:p>
        </p:txBody>
      </p:sp>
      <p:grpSp>
        <p:nvGrpSpPr>
          <p:cNvPr id="8" name="Ryhmä 7"/>
          <p:cNvGrpSpPr/>
          <p:nvPr/>
        </p:nvGrpSpPr>
        <p:grpSpPr>
          <a:xfrm>
            <a:off x="999915" y="3849124"/>
            <a:ext cx="9888718" cy="2430007"/>
            <a:chOff x="769066" y="1858414"/>
            <a:chExt cx="7416538" cy="1822502"/>
          </a:xfrm>
        </p:grpSpPr>
        <p:sp>
          <p:nvSpPr>
            <p:cNvPr id="9" name="Nuoli oikealle 8"/>
            <p:cNvSpPr/>
            <p:nvPr/>
          </p:nvSpPr>
          <p:spPr>
            <a:xfrm>
              <a:off x="769066" y="2859995"/>
              <a:ext cx="7416538" cy="283366"/>
            </a:xfrm>
            <a:prstGeom prst="rightArrow">
              <a:avLst/>
            </a:prstGeom>
            <a:gradFill flip="none" rotWithShape="1">
              <a:gsLst>
                <a:gs pos="17000">
                  <a:schemeClr val="accent1">
                    <a:lumMod val="93000"/>
                    <a:lumOff val="7000"/>
                  </a:schemeClr>
                </a:gs>
                <a:gs pos="57000">
                  <a:schemeClr val="accent1">
                    <a:lumMod val="45000"/>
                    <a:lumOff val="55000"/>
                  </a:schemeClr>
                </a:gs>
                <a:gs pos="76000">
                  <a:schemeClr val="accent1">
                    <a:lumMod val="45000"/>
                    <a:lumOff val="55000"/>
                  </a:schemeClr>
                </a:gs>
                <a:gs pos="90000">
                  <a:schemeClr val="accent1">
                    <a:lumMod val="30000"/>
                    <a:lumOff val="70000"/>
                  </a:schemeClr>
                </a:gs>
              </a:gsLst>
              <a:lin ang="108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1219170"/>
              <a:endParaRPr lang="fi-FI" sz="2400">
                <a:solidFill>
                  <a:srgbClr val="FFFFFF"/>
                </a:solidFill>
                <a:latin typeface="Arial"/>
              </a:endParaRPr>
            </a:p>
          </p:txBody>
        </p:sp>
        <p:sp>
          <p:nvSpPr>
            <p:cNvPr id="11" name="Ellipsi 10"/>
            <p:cNvSpPr/>
            <p:nvPr/>
          </p:nvSpPr>
          <p:spPr>
            <a:xfrm>
              <a:off x="1620469" y="2823990"/>
              <a:ext cx="360040" cy="360040"/>
            </a:xfrm>
            <a:prstGeom prst="ellipse">
              <a:avLst/>
            </a:prstGeom>
            <a:solidFill>
              <a:schemeClr val="accent3">
                <a:lumMod val="60000"/>
                <a:lumOff val="40000"/>
              </a:schemeClr>
            </a:solidFill>
            <a:ln/>
          </p:spPr>
          <p:style>
            <a:lnRef idx="0">
              <a:schemeClr val="accent1"/>
            </a:lnRef>
            <a:fillRef idx="3">
              <a:schemeClr val="accent1"/>
            </a:fillRef>
            <a:effectRef idx="3">
              <a:schemeClr val="accent1"/>
            </a:effectRef>
            <a:fontRef idx="minor">
              <a:schemeClr val="lt1"/>
            </a:fontRef>
          </p:style>
          <p:txBody>
            <a:bodyPr rtlCol="0" anchor="ctr"/>
            <a:lstStyle/>
            <a:p>
              <a:pPr algn="ctr" defTabSz="1219170"/>
              <a:endParaRPr lang="fi-FI" sz="2400">
                <a:solidFill>
                  <a:srgbClr val="FFFFFF"/>
                </a:solidFill>
                <a:latin typeface="Arial"/>
              </a:endParaRPr>
            </a:p>
          </p:txBody>
        </p:sp>
        <p:sp>
          <p:nvSpPr>
            <p:cNvPr id="12" name="Ellipsi 11"/>
            <p:cNvSpPr/>
            <p:nvPr/>
          </p:nvSpPr>
          <p:spPr>
            <a:xfrm>
              <a:off x="4209521" y="2824635"/>
              <a:ext cx="360040" cy="360040"/>
            </a:xfrm>
            <a:prstGeom prst="ellipse">
              <a:avLst/>
            </a:prstGeom>
            <a:solidFill>
              <a:schemeClr val="accent3">
                <a:lumMod val="60000"/>
                <a:lumOff val="40000"/>
              </a:schemeClr>
            </a:solidFill>
            <a:ln/>
          </p:spPr>
          <p:style>
            <a:lnRef idx="0">
              <a:schemeClr val="accent1"/>
            </a:lnRef>
            <a:fillRef idx="3">
              <a:schemeClr val="accent1"/>
            </a:fillRef>
            <a:effectRef idx="3">
              <a:schemeClr val="accent1"/>
            </a:effectRef>
            <a:fontRef idx="minor">
              <a:schemeClr val="lt1"/>
            </a:fontRef>
          </p:style>
          <p:txBody>
            <a:bodyPr rtlCol="0" anchor="ctr"/>
            <a:lstStyle/>
            <a:p>
              <a:pPr algn="ctr" defTabSz="1219170"/>
              <a:endParaRPr lang="fi-FI" sz="2400">
                <a:solidFill>
                  <a:srgbClr val="FFFFFF"/>
                </a:solidFill>
                <a:latin typeface="Arial"/>
              </a:endParaRPr>
            </a:p>
          </p:txBody>
        </p:sp>
        <p:sp>
          <p:nvSpPr>
            <p:cNvPr id="14" name="Ellipsi 13"/>
            <p:cNvSpPr/>
            <p:nvPr/>
          </p:nvSpPr>
          <p:spPr>
            <a:xfrm>
              <a:off x="6661988" y="2823990"/>
              <a:ext cx="360040" cy="360040"/>
            </a:xfrm>
            <a:prstGeom prst="ellipse">
              <a:avLst/>
            </a:prstGeom>
            <a:solidFill>
              <a:schemeClr val="accent3">
                <a:lumMod val="75000"/>
              </a:schemeClr>
            </a:solidFill>
            <a:ln>
              <a:noFill/>
            </a:ln>
          </p:spPr>
          <p:style>
            <a:lnRef idx="0">
              <a:schemeClr val="accent1"/>
            </a:lnRef>
            <a:fillRef idx="3">
              <a:schemeClr val="accent1"/>
            </a:fillRef>
            <a:effectRef idx="3">
              <a:schemeClr val="accent1"/>
            </a:effectRef>
            <a:fontRef idx="minor">
              <a:schemeClr val="lt1"/>
            </a:fontRef>
          </p:style>
          <p:txBody>
            <a:bodyPr rtlCol="0" anchor="ctr"/>
            <a:lstStyle/>
            <a:p>
              <a:pPr algn="ctr" defTabSz="1219170"/>
              <a:endParaRPr lang="fi-FI" sz="2400">
                <a:solidFill>
                  <a:srgbClr val="FFFFFF"/>
                </a:solidFill>
                <a:latin typeface="Arial"/>
              </a:endParaRPr>
            </a:p>
          </p:txBody>
        </p:sp>
        <p:sp>
          <p:nvSpPr>
            <p:cNvPr id="17" name="Tekstiruutu 16"/>
            <p:cNvSpPr txBox="1"/>
            <p:nvPr/>
          </p:nvSpPr>
          <p:spPr>
            <a:xfrm>
              <a:off x="904862" y="1879620"/>
              <a:ext cx="2022838" cy="761746"/>
            </a:xfrm>
            <a:prstGeom prst="rect">
              <a:avLst/>
            </a:prstGeom>
            <a:noFill/>
          </p:spPr>
          <p:txBody>
            <a:bodyPr wrap="square" rtlCol="0">
              <a:spAutoFit/>
            </a:bodyPr>
            <a:lstStyle/>
            <a:p>
              <a:pPr algn="ctr" defTabSz="1219170"/>
              <a:r>
                <a:rPr lang="fi-FI" sz="2000" b="1" dirty="0" err="1" smtClean="0">
                  <a:solidFill>
                    <a:prstClr val="black">
                      <a:lumMod val="65000"/>
                      <a:lumOff val="35000"/>
                    </a:prstClr>
                  </a:solidFill>
                  <a:latin typeface="Arial"/>
                </a:rPr>
                <a:t>Sommar</a:t>
              </a:r>
              <a:r>
                <a:rPr lang="fi-FI" sz="2000" b="1" dirty="0" smtClean="0">
                  <a:solidFill>
                    <a:prstClr val="black">
                      <a:lumMod val="65000"/>
                      <a:lumOff val="35000"/>
                    </a:prstClr>
                  </a:solidFill>
                  <a:latin typeface="Arial"/>
                </a:rPr>
                <a:t> 2023:</a:t>
              </a:r>
              <a:br>
                <a:rPr lang="fi-FI" sz="2000" b="1" dirty="0" smtClean="0">
                  <a:solidFill>
                    <a:prstClr val="black">
                      <a:lumMod val="65000"/>
                      <a:lumOff val="35000"/>
                    </a:prstClr>
                  </a:solidFill>
                  <a:latin typeface="Arial"/>
                </a:rPr>
              </a:br>
              <a:r>
                <a:rPr lang="fi-FI" sz="2000" b="1" dirty="0" err="1" smtClean="0">
                  <a:solidFill>
                    <a:prstClr val="black">
                      <a:lumMod val="65000"/>
                      <a:lumOff val="35000"/>
                    </a:prstClr>
                  </a:solidFill>
                </a:rPr>
                <a:t>Begäran</a:t>
              </a:r>
              <a:r>
                <a:rPr lang="fi-FI" sz="2000" b="1" dirty="0" smtClean="0">
                  <a:solidFill>
                    <a:prstClr val="black">
                      <a:lumMod val="65000"/>
                      <a:lumOff val="35000"/>
                    </a:prstClr>
                  </a:solidFill>
                </a:rPr>
                <a:t> </a:t>
              </a:r>
              <a:r>
                <a:rPr lang="fi-FI" sz="2000" b="1" dirty="0" err="1" smtClean="0">
                  <a:solidFill>
                    <a:prstClr val="black">
                      <a:lumMod val="65000"/>
                      <a:lumOff val="35000"/>
                    </a:prstClr>
                  </a:solidFill>
                </a:rPr>
                <a:t>om</a:t>
              </a:r>
              <a:r>
                <a:rPr lang="fi-FI" sz="2000" b="1" dirty="0" smtClean="0">
                  <a:solidFill>
                    <a:prstClr val="black">
                      <a:lumMod val="65000"/>
                      <a:lumOff val="35000"/>
                    </a:prstClr>
                  </a:solidFill>
                </a:rPr>
                <a:t> </a:t>
              </a:r>
              <a:r>
                <a:rPr lang="fi-FI" sz="2000" b="1" dirty="0" err="1" smtClean="0">
                  <a:solidFill>
                    <a:prstClr val="black">
                      <a:lumMod val="65000"/>
                      <a:lumOff val="35000"/>
                    </a:prstClr>
                  </a:solidFill>
                </a:rPr>
                <a:t>utlåtande</a:t>
              </a:r>
              <a:endParaRPr lang="fi-FI" sz="2000" b="1" dirty="0" smtClean="0">
                <a:solidFill>
                  <a:prstClr val="black">
                    <a:lumMod val="65000"/>
                    <a:lumOff val="35000"/>
                  </a:prstClr>
                </a:solidFill>
                <a:latin typeface="Arial"/>
              </a:endParaRPr>
            </a:p>
          </p:txBody>
        </p:sp>
        <p:sp>
          <p:nvSpPr>
            <p:cNvPr id="19" name="Tekstiruutu 18"/>
            <p:cNvSpPr txBox="1"/>
            <p:nvPr/>
          </p:nvSpPr>
          <p:spPr>
            <a:xfrm>
              <a:off x="4332146" y="3457826"/>
              <a:ext cx="1074129" cy="223090"/>
            </a:xfrm>
            <a:prstGeom prst="rect">
              <a:avLst/>
            </a:prstGeom>
            <a:noFill/>
          </p:spPr>
          <p:txBody>
            <a:bodyPr wrap="square" rtlCol="0">
              <a:spAutoFit/>
            </a:bodyPr>
            <a:lstStyle/>
            <a:p>
              <a:pPr algn="ctr" defTabSz="1219170"/>
              <a:endParaRPr lang="fi-FI" sz="1333" dirty="0">
                <a:solidFill>
                  <a:prstClr val="black">
                    <a:lumMod val="65000"/>
                    <a:lumOff val="35000"/>
                  </a:prstClr>
                </a:solidFill>
                <a:latin typeface="Arial"/>
              </a:endParaRPr>
            </a:p>
          </p:txBody>
        </p:sp>
        <p:sp>
          <p:nvSpPr>
            <p:cNvPr id="20" name="Tekstiruutu 19"/>
            <p:cNvSpPr txBox="1"/>
            <p:nvPr/>
          </p:nvSpPr>
          <p:spPr>
            <a:xfrm>
              <a:off x="783420" y="2199648"/>
              <a:ext cx="1367102" cy="223090"/>
            </a:xfrm>
            <a:prstGeom prst="rect">
              <a:avLst/>
            </a:prstGeom>
            <a:noFill/>
          </p:spPr>
          <p:txBody>
            <a:bodyPr wrap="square" rtlCol="0">
              <a:spAutoFit/>
            </a:bodyPr>
            <a:lstStyle/>
            <a:p>
              <a:pPr algn="ctr" defTabSz="1219170"/>
              <a:endParaRPr lang="fi-FI" sz="1333" dirty="0">
                <a:solidFill>
                  <a:prstClr val="black"/>
                </a:solidFill>
                <a:latin typeface="Arial"/>
              </a:endParaRPr>
            </a:p>
          </p:txBody>
        </p:sp>
        <p:sp>
          <p:nvSpPr>
            <p:cNvPr id="21" name="Tekstiruutu 20"/>
            <p:cNvSpPr txBox="1"/>
            <p:nvPr/>
          </p:nvSpPr>
          <p:spPr>
            <a:xfrm>
              <a:off x="3398914" y="1858414"/>
              <a:ext cx="1981253" cy="761746"/>
            </a:xfrm>
            <a:prstGeom prst="rect">
              <a:avLst/>
            </a:prstGeom>
            <a:noFill/>
          </p:spPr>
          <p:txBody>
            <a:bodyPr wrap="square" rtlCol="0">
              <a:spAutoFit/>
            </a:bodyPr>
            <a:lstStyle/>
            <a:p>
              <a:pPr algn="ctr" defTabSz="1219170"/>
              <a:r>
                <a:rPr lang="sv-SE" sz="2000" b="1" dirty="0">
                  <a:solidFill>
                    <a:prstClr val="black"/>
                  </a:solidFill>
                </a:rPr>
                <a:t>Hösten 2023:</a:t>
              </a:r>
            </a:p>
            <a:p>
              <a:pPr algn="ctr" defTabSz="1219170"/>
              <a:r>
                <a:rPr lang="sv-SE" sz="2000" b="1" dirty="0">
                  <a:solidFill>
                    <a:prstClr val="black"/>
                  </a:solidFill>
                </a:rPr>
                <a:t>Presentation av visionen</a:t>
              </a:r>
              <a:r>
                <a:rPr lang="fi-FI" sz="2000" dirty="0" smtClean="0">
                  <a:solidFill>
                    <a:prstClr val="black"/>
                  </a:solidFill>
                  <a:latin typeface="Arial"/>
                </a:rPr>
                <a:t> </a:t>
              </a:r>
              <a:endParaRPr lang="fi-FI" sz="2000" dirty="0">
                <a:solidFill>
                  <a:prstClr val="black"/>
                </a:solidFill>
                <a:latin typeface="Arial"/>
              </a:endParaRPr>
            </a:p>
          </p:txBody>
        </p:sp>
      </p:grpSp>
      <p:sp>
        <p:nvSpPr>
          <p:cNvPr id="26" name="Tekstiruutu 25"/>
          <p:cNvSpPr txBox="1"/>
          <p:nvPr/>
        </p:nvSpPr>
        <p:spPr>
          <a:xfrm>
            <a:off x="7776335" y="3726934"/>
            <a:ext cx="2641671" cy="1323439"/>
          </a:xfrm>
          <a:prstGeom prst="rect">
            <a:avLst/>
          </a:prstGeom>
          <a:noFill/>
        </p:spPr>
        <p:txBody>
          <a:bodyPr wrap="square" rtlCol="0">
            <a:spAutoFit/>
          </a:bodyPr>
          <a:lstStyle/>
          <a:p>
            <a:pPr algn="ctr" defTabSz="1219170"/>
            <a:r>
              <a:rPr lang="sv-SE" sz="2000" b="1" dirty="0">
                <a:solidFill>
                  <a:prstClr val="black"/>
                </a:solidFill>
              </a:rPr>
              <a:t>2024:</a:t>
            </a:r>
          </a:p>
          <a:p>
            <a:pPr algn="ctr" defTabSz="1219170"/>
            <a:r>
              <a:rPr lang="sv-SE" sz="2000" b="1" dirty="0">
                <a:solidFill>
                  <a:prstClr val="black"/>
                </a:solidFill>
              </a:rPr>
              <a:t>Fortsatt arbete med visionen,</a:t>
            </a:r>
          </a:p>
          <a:p>
            <a:pPr algn="ctr" defTabSz="1219170"/>
            <a:r>
              <a:rPr lang="sv-SE" sz="2000" b="1" dirty="0">
                <a:solidFill>
                  <a:prstClr val="black"/>
                </a:solidFill>
              </a:rPr>
              <a:t>åtgärder</a:t>
            </a:r>
            <a:r>
              <a:rPr lang="fi-FI" sz="2000" dirty="0" smtClean="0">
                <a:solidFill>
                  <a:prstClr val="black"/>
                </a:solidFill>
                <a:latin typeface="Arial"/>
              </a:rPr>
              <a:t> </a:t>
            </a:r>
            <a:endParaRPr lang="fi-FI" sz="2000" dirty="0">
              <a:solidFill>
                <a:prstClr val="black"/>
              </a:solidFill>
              <a:latin typeface="Arial"/>
            </a:endParaRPr>
          </a:p>
        </p:txBody>
      </p:sp>
    </p:spTree>
    <p:extLst>
      <p:ext uri="{BB962C8B-B14F-4D97-AF65-F5344CB8AC3E}">
        <p14:creationId xmlns:p14="http://schemas.microsoft.com/office/powerpoint/2010/main" val="87185172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Kuvan paikkamerkki 1">
            <a:extLst>
              <a:ext uri="{FF2B5EF4-FFF2-40B4-BE49-F238E27FC236}">
                <a16:creationId xmlns:a16="http://schemas.microsoft.com/office/drawing/2014/main" id="{7BED76A1-E7DB-4F6D-84C2-CB59B43A5C87}"/>
              </a:ext>
            </a:extLst>
          </p:cNvPr>
          <p:cNvSpPr>
            <a:spLocks noGrp="1"/>
          </p:cNvSpPr>
          <p:nvPr>
            <p:ph type="pic" sz="quarter" idx="10"/>
          </p:nvPr>
        </p:nvSpPr>
        <p:spPr/>
      </p:sp>
      <p:sp>
        <p:nvSpPr>
          <p:cNvPr id="3" name="Tekstin paikkamerkki 2">
            <a:extLst>
              <a:ext uri="{FF2B5EF4-FFF2-40B4-BE49-F238E27FC236}">
                <a16:creationId xmlns:a16="http://schemas.microsoft.com/office/drawing/2014/main" id="{A47F40C9-F4E9-437D-8C2C-90BBE4161F1F}"/>
              </a:ext>
            </a:extLst>
          </p:cNvPr>
          <p:cNvSpPr>
            <a:spLocks noGrp="1"/>
          </p:cNvSpPr>
          <p:nvPr>
            <p:ph type="body" sz="quarter" idx="11"/>
          </p:nvPr>
        </p:nvSpPr>
        <p:spPr/>
        <p:txBody>
          <a:bodyPr/>
          <a:lstStyle/>
          <a:p>
            <a:endParaRPr lang="fi-FI" dirty="0"/>
          </a:p>
        </p:txBody>
      </p:sp>
      <p:sp>
        <p:nvSpPr>
          <p:cNvPr id="4" name="Suorakulmio 3"/>
          <p:cNvSpPr/>
          <p:nvPr/>
        </p:nvSpPr>
        <p:spPr>
          <a:xfrm>
            <a:off x="6120000" y="2685143"/>
            <a:ext cx="2269257" cy="84182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6000" b="1" dirty="0" err="1" smtClean="0">
                <a:solidFill>
                  <a:schemeClr val="tx2"/>
                </a:solidFill>
              </a:rPr>
              <a:t>Tack</a:t>
            </a:r>
            <a:r>
              <a:rPr lang="fi-FI" sz="6000" b="1" dirty="0" smtClean="0">
                <a:solidFill>
                  <a:schemeClr val="tx2"/>
                </a:solidFill>
              </a:rPr>
              <a:t>!</a:t>
            </a:r>
          </a:p>
        </p:txBody>
      </p:sp>
    </p:spTree>
    <p:extLst>
      <p:ext uri="{BB962C8B-B14F-4D97-AF65-F5344CB8AC3E}">
        <p14:creationId xmlns:p14="http://schemas.microsoft.com/office/powerpoint/2010/main" val="34611845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Kuvan paikkamerkki 7"/>
          <p:cNvPicPr>
            <a:picLocks noGrp="1" noChangeAspect="1"/>
          </p:cNvPicPr>
          <p:nvPr>
            <p:ph type="pic" sz="quarter" idx="13"/>
          </p:nvPr>
        </p:nvPicPr>
        <p:blipFill>
          <a:blip r:embed="rId2" cstate="hqprint">
            <a:extLst>
              <a:ext uri="{28A0092B-C50C-407E-A947-70E740481C1C}">
                <a14:useLocalDpi xmlns:a14="http://schemas.microsoft.com/office/drawing/2010/main" val="0"/>
              </a:ext>
            </a:extLst>
          </a:blip>
          <a:srcRect l="23134" r="23134"/>
          <a:stretch>
            <a:fillRect/>
          </a:stretch>
        </p:blipFill>
        <p:spPr>
          <a:xfrm>
            <a:off x="7561551" y="0"/>
            <a:ext cx="5535612" cy="6867832"/>
          </a:xfrm>
        </p:spPr>
      </p:pic>
      <p:sp>
        <p:nvSpPr>
          <p:cNvPr id="3" name="Otsikko 2"/>
          <p:cNvSpPr>
            <a:spLocks noGrp="1"/>
          </p:cNvSpPr>
          <p:nvPr>
            <p:ph type="title"/>
          </p:nvPr>
        </p:nvSpPr>
        <p:spPr>
          <a:xfrm>
            <a:off x="539999" y="507138"/>
            <a:ext cx="7021552" cy="972000"/>
          </a:xfrm>
        </p:spPr>
        <p:txBody>
          <a:bodyPr/>
          <a:lstStyle/>
          <a:p>
            <a:r>
              <a:rPr lang="sv-SE" dirty="0"/>
              <a:t>Visionen är en del av den mer omfattande trafiksystemplaneringen 1/2</a:t>
            </a:r>
            <a:endParaRPr lang="fi-FI" dirty="0"/>
          </a:p>
        </p:txBody>
      </p:sp>
      <p:sp>
        <p:nvSpPr>
          <p:cNvPr id="4" name="Tekstin paikkamerkki 3"/>
          <p:cNvSpPr>
            <a:spLocks noGrp="1"/>
          </p:cNvSpPr>
          <p:nvPr>
            <p:ph type="body" sz="quarter" idx="14"/>
          </p:nvPr>
        </p:nvSpPr>
        <p:spPr>
          <a:xfrm>
            <a:off x="540001" y="1779915"/>
            <a:ext cx="7855854" cy="4787140"/>
          </a:xfrm>
        </p:spPr>
        <p:txBody>
          <a:bodyPr/>
          <a:lstStyle/>
          <a:p>
            <a:r>
              <a:rPr lang="sv-SE" sz="2400" dirty="0"/>
              <a:t>Tillgänglighetsvisionen bygger på </a:t>
            </a:r>
            <a:r>
              <a:rPr lang="sv-SE" sz="2400" dirty="0">
                <a:hlinkClick r:id="rId3"/>
              </a:rPr>
              <a:t>den riksomfattande trafiksystemplanen (Trafik 12), </a:t>
            </a:r>
            <a:r>
              <a:rPr lang="sv-SE" sz="2400" dirty="0"/>
              <a:t>som innehåller riktlinjer om åtgärder som ska utveckla tillgängligheten i transportsystemet. </a:t>
            </a:r>
            <a:endParaRPr lang="sv-SE" sz="2400" dirty="0" smtClean="0"/>
          </a:p>
          <a:p>
            <a:r>
              <a:rPr lang="sv-SE" sz="2400" dirty="0" smtClean="0"/>
              <a:t>Enligt </a:t>
            </a:r>
            <a:r>
              <a:rPr lang="sv-SE" sz="2400" dirty="0"/>
              <a:t>planen Trafik 12 ska staten </a:t>
            </a:r>
            <a:r>
              <a:rPr lang="sv-SE" sz="2400" i="1" dirty="0"/>
              <a:t>i samarbete med andra aktörer, särskilt olika befolkningsgrupper, fastställa en vision för trafiksystemets hinderslöshet och digitala trafiktjänsters tillgänglighet och identifiera olika ansvariga aktörers roll för såväl funktionsdugligheten i olika delar av resekedjan som tillgodoseendet av passagerarnas rättigheter</a:t>
            </a:r>
            <a:r>
              <a:rPr lang="sv-SE" sz="2400" dirty="0"/>
              <a:t>. </a:t>
            </a:r>
            <a:endParaRPr lang="fi-FI" dirty="0" smtClean="0"/>
          </a:p>
          <a:p>
            <a:endParaRPr lang="fi-FI" dirty="0" smtClean="0"/>
          </a:p>
        </p:txBody>
      </p:sp>
      <p:sp>
        <p:nvSpPr>
          <p:cNvPr id="5" name="Päivämäärän paikkamerkki 4"/>
          <p:cNvSpPr>
            <a:spLocks noGrp="1"/>
          </p:cNvSpPr>
          <p:nvPr>
            <p:ph type="dt" sz="half" idx="15"/>
          </p:nvPr>
        </p:nvSpPr>
        <p:spPr/>
        <p:txBody>
          <a:bodyPr/>
          <a:lstStyle/>
          <a:p>
            <a:fld id="{4CBB4192-9318-4B3B-B74F-5996198BFC81}" type="datetime1">
              <a:rPr lang="fi-FI" smtClean="0"/>
              <a:t>26.6.2023</a:t>
            </a:fld>
            <a:endParaRPr lang="fi-FI"/>
          </a:p>
        </p:txBody>
      </p:sp>
      <p:sp>
        <p:nvSpPr>
          <p:cNvPr id="6" name="Alatunnisteen paikkamerkki 5"/>
          <p:cNvSpPr>
            <a:spLocks noGrp="1"/>
          </p:cNvSpPr>
          <p:nvPr>
            <p:ph type="ftr" sz="quarter" idx="16"/>
          </p:nvPr>
        </p:nvSpPr>
        <p:spPr/>
        <p:txBody>
          <a:bodyPr/>
          <a:lstStyle/>
          <a:p>
            <a:endParaRPr lang="fi-FI" dirty="0"/>
          </a:p>
        </p:txBody>
      </p:sp>
      <p:sp>
        <p:nvSpPr>
          <p:cNvPr id="7" name="Dian numeron paikkamerkki 6"/>
          <p:cNvSpPr>
            <a:spLocks noGrp="1"/>
          </p:cNvSpPr>
          <p:nvPr>
            <p:ph type="sldNum" sz="quarter" idx="17"/>
          </p:nvPr>
        </p:nvSpPr>
        <p:spPr/>
        <p:txBody>
          <a:bodyPr/>
          <a:lstStyle/>
          <a:p>
            <a:fld id="{628F3778-6073-48C0-8E18-EFC09B82139A}" type="slidenum">
              <a:rPr lang="fi-FI" smtClean="0"/>
              <a:pPr/>
              <a:t>2</a:t>
            </a:fld>
            <a:endParaRPr lang="fi-FI"/>
          </a:p>
        </p:txBody>
      </p:sp>
      <p:pic>
        <p:nvPicPr>
          <p:cNvPr id="10" name="Kuvan paikkamerkki 7" title="Man med rullstol på tåget"/>
          <p:cNvPicPr>
            <a:picLocks noChangeAspect="1"/>
          </p:cNvPicPr>
          <p:nvPr/>
        </p:nvPicPr>
        <p:blipFill>
          <a:blip r:embed="rId4" cstate="hqprint">
            <a:extLst>
              <a:ext uri="{28A0092B-C50C-407E-A947-70E740481C1C}">
                <a14:useLocalDpi xmlns:a14="http://schemas.microsoft.com/office/drawing/2010/main" val="0"/>
              </a:ext>
            </a:extLst>
          </a:blip>
          <a:srcRect l="23900" r="23900"/>
          <a:stretch>
            <a:fillRect/>
          </a:stretch>
        </p:blipFill>
        <p:spPr>
          <a:xfrm>
            <a:off x="7561551" y="0"/>
            <a:ext cx="5535612" cy="6867832"/>
          </a:xfrm>
          <a:custGeom>
            <a:avLst/>
            <a:gdLst>
              <a:gd name="connsiteX0" fmla="*/ 0 w 5535612"/>
              <a:gd name="connsiteY0" fmla="*/ 0 h 6858000"/>
              <a:gd name="connsiteX1" fmla="*/ 5535612 w 5535612"/>
              <a:gd name="connsiteY1" fmla="*/ 0 h 6858000"/>
              <a:gd name="connsiteX2" fmla="*/ 5535612 w 5535612"/>
              <a:gd name="connsiteY2" fmla="*/ 6858000 h 6858000"/>
              <a:gd name="connsiteX3" fmla="*/ 0 w 5535612"/>
              <a:gd name="connsiteY3" fmla="*/ 6858000 h 6858000"/>
              <a:gd name="connsiteX4" fmla="*/ 0 w 5535612"/>
              <a:gd name="connsiteY4" fmla="*/ 0 h 6858000"/>
              <a:gd name="connsiteX0" fmla="*/ 0 w 5535612"/>
              <a:gd name="connsiteY0" fmla="*/ 0 h 6867832"/>
              <a:gd name="connsiteX1" fmla="*/ 5535612 w 5535612"/>
              <a:gd name="connsiteY1" fmla="*/ 0 h 6867832"/>
              <a:gd name="connsiteX2" fmla="*/ 5535612 w 5535612"/>
              <a:gd name="connsiteY2" fmla="*/ 6858000 h 6867832"/>
              <a:gd name="connsiteX3" fmla="*/ 2674375 w 5535612"/>
              <a:gd name="connsiteY3" fmla="*/ 6867832 h 6867832"/>
              <a:gd name="connsiteX4" fmla="*/ 0 w 5535612"/>
              <a:gd name="connsiteY4" fmla="*/ 0 h 6867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5612" h="6867832">
                <a:moveTo>
                  <a:pt x="0" y="0"/>
                </a:moveTo>
                <a:lnTo>
                  <a:pt x="5535612" y="0"/>
                </a:lnTo>
                <a:lnTo>
                  <a:pt x="5535612" y="6858000"/>
                </a:lnTo>
                <a:lnTo>
                  <a:pt x="2674375" y="6867832"/>
                </a:lnTo>
                <a:lnTo>
                  <a:pt x="0" y="0"/>
                </a:lnTo>
                <a:close/>
              </a:path>
            </a:pathLst>
          </a:custGeom>
          <a:solidFill>
            <a:schemeClr val="lt1"/>
          </a:solidFill>
          <a:ln w="12700" cap="flat" cmpd="sng" algn="ctr">
            <a:noFill/>
            <a:prstDash val="solid"/>
            <a:miter lim="800000"/>
          </a:ln>
          <a:effectLst/>
        </p:spPr>
      </p:pic>
    </p:spTree>
    <p:extLst>
      <p:ext uri="{BB962C8B-B14F-4D97-AF65-F5344CB8AC3E}">
        <p14:creationId xmlns:p14="http://schemas.microsoft.com/office/powerpoint/2010/main" val="421577782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Kuvan paikkamerkki 7"/>
          <p:cNvPicPr>
            <a:picLocks noGrp="1" noChangeAspect="1"/>
          </p:cNvPicPr>
          <p:nvPr>
            <p:ph type="pic" sz="quarter" idx="13"/>
          </p:nvPr>
        </p:nvPicPr>
        <p:blipFill>
          <a:blip r:embed="rId2" cstate="hqprint">
            <a:extLst>
              <a:ext uri="{28A0092B-C50C-407E-A947-70E740481C1C}">
                <a14:useLocalDpi xmlns:a14="http://schemas.microsoft.com/office/drawing/2010/main" val="0"/>
              </a:ext>
            </a:extLst>
          </a:blip>
          <a:srcRect l="23134" r="23134"/>
          <a:stretch>
            <a:fillRect/>
          </a:stretch>
        </p:blipFill>
        <p:spPr>
          <a:xfrm>
            <a:off x="7561551" y="0"/>
            <a:ext cx="5535612" cy="6867832"/>
          </a:xfrm>
        </p:spPr>
      </p:pic>
      <p:sp>
        <p:nvSpPr>
          <p:cNvPr id="3" name="Otsikko 2"/>
          <p:cNvSpPr>
            <a:spLocks noGrp="1"/>
          </p:cNvSpPr>
          <p:nvPr>
            <p:ph type="title"/>
          </p:nvPr>
        </p:nvSpPr>
        <p:spPr>
          <a:xfrm>
            <a:off x="540001" y="507138"/>
            <a:ext cx="7355772" cy="972000"/>
          </a:xfrm>
        </p:spPr>
        <p:txBody>
          <a:bodyPr/>
          <a:lstStyle/>
          <a:p>
            <a:r>
              <a:rPr lang="sv-SE" dirty="0"/>
              <a:t>Visionen är en del av den mer omfattande trafiksystemplaneringen </a:t>
            </a:r>
            <a:r>
              <a:rPr lang="sv-SE" dirty="0" smtClean="0"/>
              <a:t>2/2</a:t>
            </a:r>
            <a:endParaRPr lang="fi-FI" dirty="0"/>
          </a:p>
        </p:txBody>
      </p:sp>
      <p:sp>
        <p:nvSpPr>
          <p:cNvPr id="4" name="Tekstin paikkamerkki 3"/>
          <p:cNvSpPr>
            <a:spLocks noGrp="1"/>
          </p:cNvSpPr>
          <p:nvPr>
            <p:ph type="body" sz="quarter" idx="14"/>
          </p:nvPr>
        </p:nvSpPr>
        <p:spPr>
          <a:xfrm>
            <a:off x="540001" y="1779915"/>
            <a:ext cx="7855854" cy="4787140"/>
          </a:xfrm>
        </p:spPr>
        <p:txBody>
          <a:bodyPr/>
          <a:lstStyle/>
          <a:p>
            <a:r>
              <a:rPr lang="sv-SE" sz="2400" dirty="0" smtClean="0"/>
              <a:t>Som ett led i genomförandet av Trafik 12 inrättades en tillgänglighetsarbetsgrupp med uppgiften att genomföra tillgänglighetsåtgärderna i planen</a:t>
            </a:r>
          </a:p>
          <a:p>
            <a:r>
              <a:rPr lang="sv-SE" sz="2400" dirty="0" smtClean="0"/>
              <a:t>Hösten 2022 publicerades utredningen</a:t>
            </a:r>
            <a:r>
              <a:rPr lang="sv-SE" sz="2400" dirty="0" smtClean="0">
                <a:hlinkClick r:id="rId3"/>
              </a:rPr>
              <a:t> </a:t>
            </a:r>
            <a:r>
              <a:rPr lang="sv-SE" sz="2400" dirty="0" err="1" smtClean="0">
                <a:hlinkClick r:id="rId3"/>
              </a:rPr>
              <a:t>Matkaketjudemo</a:t>
            </a:r>
            <a:r>
              <a:rPr lang="sv-SE" sz="2400" dirty="0" smtClean="0">
                <a:hlinkClick r:id="rId3"/>
              </a:rPr>
              <a:t> (på finska)</a:t>
            </a:r>
            <a:r>
              <a:rPr lang="sv-SE" sz="2400" dirty="0" smtClean="0"/>
              <a:t> som en del av arbetsgruppens arbete. I utredningen testade passagerare med olika typer av funktionsnedsättningar resekedjan i kollektivtrafiken och bokningen av resor. Flera tillgänglighetsbrister upptäcktes i resekedjorna, både i samband med reseförberedelserna och under själva resan. </a:t>
            </a:r>
            <a:endParaRPr lang="fi-FI" sz="2400" dirty="0" smtClean="0"/>
          </a:p>
          <a:p>
            <a:endParaRPr lang="fi-FI" dirty="0" smtClean="0"/>
          </a:p>
          <a:p>
            <a:endParaRPr lang="fi-FI" dirty="0" smtClean="0"/>
          </a:p>
        </p:txBody>
      </p:sp>
      <p:sp>
        <p:nvSpPr>
          <p:cNvPr id="5" name="Päivämäärän paikkamerkki 4"/>
          <p:cNvSpPr>
            <a:spLocks noGrp="1"/>
          </p:cNvSpPr>
          <p:nvPr>
            <p:ph type="dt" sz="half" idx="15"/>
          </p:nvPr>
        </p:nvSpPr>
        <p:spPr/>
        <p:txBody>
          <a:bodyPr/>
          <a:lstStyle/>
          <a:p>
            <a:fld id="{4CBB4192-9318-4B3B-B74F-5996198BFC81}" type="datetime1">
              <a:rPr lang="fi-FI" smtClean="0"/>
              <a:t>26.6.2023</a:t>
            </a:fld>
            <a:endParaRPr lang="fi-FI"/>
          </a:p>
        </p:txBody>
      </p:sp>
      <p:sp>
        <p:nvSpPr>
          <p:cNvPr id="6" name="Alatunnisteen paikkamerkki 5"/>
          <p:cNvSpPr>
            <a:spLocks noGrp="1"/>
          </p:cNvSpPr>
          <p:nvPr>
            <p:ph type="ftr" sz="quarter" idx="16"/>
          </p:nvPr>
        </p:nvSpPr>
        <p:spPr/>
        <p:txBody>
          <a:bodyPr/>
          <a:lstStyle/>
          <a:p>
            <a:endParaRPr lang="fi-FI" dirty="0"/>
          </a:p>
        </p:txBody>
      </p:sp>
      <p:sp>
        <p:nvSpPr>
          <p:cNvPr id="7" name="Dian numeron paikkamerkki 6"/>
          <p:cNvSpPr>
            <a:spLocks noGrp="1"/>
          </p:cNvSpPr>
          <p:nvPr>
            <p:ph type="sldNum" sz="quarter" idx="17"/>
          </p:nvPr>
        </p:nvSpPr>
        <p:spPr/>
        <p:txBody>
          <a:bodyPr/>
          <a:lstStyle/>
          <a:p>
            <a:fld id="{628F3778-6073-48C0-8E18-EFC09B82139A}" type="slidenum">
              <a:rPr lang="fi-FI" smtClean="0"/>
              <a:pPr/>
              <a:t>3</a:t>
            </a:fld>
            <a:endParaRPr lang="fi-FI"/>
          </a:p>
        </p:txBody>
      </p:sp>
      <p:pic>
        <p:nvPicPr>
          <p:cNvPr id="9" name="Kuvan paikkamerkki 7" title="Kvinnan bläddrar i tabletten på bussen"/>
          <p:cNvPicPr>
            <a:picLocks noChangeAspect="1"/>
          </p:cNvPicPr>
          <p:nvPr/>
        </p:nvPicPr>
        <p:blipFill>
          <a:blip r:embed="rId4" cstate="hqprint">
            <a:extLst>
              <a:ext uri="{28A0092B-C50C-407E-A947-70E740481C1C}">
                <a14:useLocalDpi xmlns:a14="http://schemas.microsoft.com/office/drawing/2010/main" val="0"/>
              </a:ext>
            </a:extLst>
          </a:blip>
          <a:srcRect l="23131" r="23131"/>
          <a:stretch>
            <a:fillRect/>
          </a:stretch>
        </p:blipFill>
        <p:spPr>
          <a:xfrm>
            <a:off x="7561551" y="0"/>
            <a:ext cx="5535612" cy="6867832"/>
          </a:xfrm>
          <a:custGeom>
            <a:avLst/>
            <a:gdLst>
              <a:gd name="connsiteX0" fmla="*/ 0 w 5535612"/>
              <a:gd name="connsiteY0" fmla="*/ 0 h 6858000"/>
              <a:gd name="connsiteX1" fmla="*/ 5535612 w 5535612"/>
              <a:gd name="connsiteY1" fmla="*/ 0 h 6858000"/>
              <a:gd name="connsiteX2" fmla="*/ 5535612 w 5535612"/>
              <a:gd name="connsiteY2" fmla="*/ 6858000 h 6858000"/>
              <a:gd name="connsiteX3" fmla="*/ 0 w 5535612"/>
              <a:gd name="connsiteY3" fmla="*/ 6858000 h 6858000"/>
              <a:gd name="connsiteX4" fmla="*/ 0 w 5535612"/>
              <a:gd name="connsiteY4" fmla="*/ 0 h 6858000"/>
              <a:gd name="connsiteX0" fmla="*/ 0 w 5535612"/>
              <a:gd name="connsiteY0" fmla="*/ 0 h 6867832"/>
              <a:gd name="connsiteX1" fmla="*/ 5535612 w 5535612"/>
              <a:gd name="connsiteY1" fmla="*/ 0 h 6867832"/>
              <a:gd name="connsiteX2" fmla="*/ 5535612 w 5535612"/>
              <a:gd name="connsiteY2" fmla="*/ 6858000 h 6867832"/>
              <a:gd name="connsiteX3" fmla="*/ 2674375 w 5535612"/>
              <a:gd name="connsiteY3" fmla="*/ 6867832 h 6867832"/>
              <a:gd name="connsiteX4" fmla="*/ 0 w 5535612"/>
              <a:gd name="connsiteY4" fmla="*/ 0 h 6867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5612" h="6867832">
                <a:moveTo>
                  <a:pt x="0" y="0"/>
                </a:moveTo>
                <a:lnTo>
                  <a:pt x="5535612" y="0"/>
                </a:lnTo>
                <a:lnTo>
                  <a:pt x="5535612" y="6858000"/>
                </a:lnTo>
                <a:lnTo>
                  <a:pt x="2674375" y="6867832"/>
                </a:lnTo>
                <a:lnTo>
                  <a:pt x="0" y="0"/>
                </a:lnTo>
                <a:close/>
              </a:path>
            </a:pathLst>
          </a:custGeom>
          <a:solidFill>
            <a:schemeClr val="lt1"/>
          </a:solidFill>
          <a:ln w="12700" cap="flat" cmpd="sng" algn="ctr">
            <a:noFill/>
            <a:prstDash val="solid"/>
            <a:miter lim="800000"/>
          </a:ln>
          <a:effectLst/>
        </p:spPr>
      </p:pic>
    </p:spTree>
    <p:extLst>
      <p:ext uri="{BB962C8B-B14F-4D97-AF65-F5344CB8AC3E}">
        <p14:creationId xmlns:p14="http://schemas.microsoft.com/office/powerpoint/2010/main" val="160015749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Kuva 3" descr="En vision skriven inuti en cirkel. Visionsfrasen är visionens huvudbudskap och lyder så här:&#10;&#10;var och en kan planera och genomföra sin önskade resa smidigt, säkert och självständigt"/>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0"/>
            <a:ext cx="12192000" cy="6864684"/>
          </a:xfrm>
          <a:prstGeom prst="rect">
            <a:avLst/>
          </a:prstGeom>
          <a:noFill/>
          <a:ln>
            <a:noFill/>
          </a:ln>
        </p:spPr>
      </p:pic>
    </p:spTree>
    <p:extLst>
      <p:ext uri="{BB962C8B-B14F-4D97-AF65-F5344CB8AC3E}">
        <p14:creationId xmlns:p14="http://schemas.microsoft.com/office/powerpoint/2010/main" val="230017558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 name="Kuva 4" descr="I omkretsen av tillgänglighetsvisionen finns fyra cirklar som beskriver värdena för genomförandet av visionen. Dessa fyra värden är användarupplevelse, samarbete, en tillgänglig resekedja och mångsinnlighet.&#10;&#10;En tillgänglig resekedja&#10;Kollektivtrafikens tillgänglighet ska omfatta hela resekedjan från avgångsorten till bestämmelseorten. En tillgänglig resekedja uppstår när resenären kan planera och genomföra en resa som omfattar flera olika färdsätt.&#10;&#10;Mångsinnlighet&#10;Mångsinnlighet innebär att tjänsterna och den information som tillhandahålls kan utnyttjas med minst två olika sinnen. Mångsinnet gör det möjligt att ta emot information på det sätt som lämpar sig för varje användares behov.&#10;&#10;Användarupplevelse&#10;Utvecklingen av trafiksystemets olika delområden sker före användarnas behov. Det är viktigt att erfarenhetsexperter utnyttjas och involveras i alla skeden av planeringen. Vid planeringen ska man beakta behoven hos minst fyra olika specialgrupper: rörelsehindrade, syn- och hörselskadade och lättanvända användare.&#10;&#10;Samarbete&#10;Främjandet av tillgängligheten baserar sig på samarbete mellan olika aktörer i god anda. Samarbetet bedrivs av olika aktörer inom förvaltningsområdet, såsom ministeriet och ämbetsverken, kommunerna, tjänsteleverantörerna och användarna. I olika utvecklingsprojekt samarbetar alla aktörer som är relevanta med tanke på projektet."/>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3342"/>
            <a:ext cx="12186066" cy="6861341"/>
          </a:xfrm>
          <a:prstGeom prst="rect">
            <a:avLst/>
          </a:prstGeom>
          <a:noFill/>
          <a:ln>
            <a:noFill/>
          </a:ln>
        </p:spPr>
      </p:pic>
    </p:spTree>
    <p:extLst>
      <p:ext uri="{BB962C8B-B14F-4D97-AF65-F5344CB8AC3E}">
        <p14:creationId xmlns:p14="http://schemas.microsoft.com/office/powerpoint/2010/main" val="927357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Kuva 3" descr="Med delområden avses konkret sådana delområden i trafiksystemet som det är viktigt att utveckla för att förbättra tillgängligheten och tillgängligheten i trafiken.&#10;&#10;Transportinfrastruktur: Gångvägar, förbindelseleder och knutpunkter, kajområden, belysning, skyltar och passagerarinformation, infrastrukturarrangemang för terminaltrafik och parkering samt infrastruktur för automatisering.&#10;&#10;Mobilitetstjänster: fysiska och digitala transporttjänster, bl.a. biljettköp, biljettbetalning och ruttplanering. Passagerarinformation (vägledning, störningsinformation), assistans, parkeringstjänster och tillhörande särskilda rättigheter. Tillgången till tjänster (t.ex. riksomfattande tillgång till tillgängliga kollektivtrafiktjänster och taxitjänster)&#10;&#10;Tillgänglighetsinformation: information till resenärer om tillgängligheten till infrastruktur, materiel och tjänster och tillgängligheten till denna information. Information om infrastrukturens, materielens och tjänsternas tillgänglighet som delas mellan aktörerna inom transportsektorn" title="De delområden i trafiksystemet som visionen gäller"/>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p:spPr>
      </p:pic>
    </p:spTree>
    <p:extLst>
      <p:ext uri="{BB962C8B-B14F-4D97-AF65-F5344CB8AC3E}">
        <p14:creationId xmlns:p14="http://schemas.microsoft.com/office/powerpoint/2010/main" val="141754643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Kuva 3" descr="såsom förklarats tidigare" title="Visionens förklarande text"/>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2277"/>
            <a:ext cx="12192000" cy="6860277"/>
          </a:xfrm>
          <a:prstGeom prst="rect">
            <a:avLst/>
          </a:prstGeom>
          <a:noFill/>
          <a:ln>
            <a:noFill/>
          </a:ln>
        </p:spPr>
      </p:pic>
    </p:spTree>
    <p:extLst>
      <p:ext uri="{BB962C8B-B14F-4D97-AF65-F5344CB8AC3E}">
        <p14:creationId xmlns:p14="http://schemas.microsoft.com/office/powerpoint/2010/main" val="259896226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tsikko 2"/>
          <p:cNvSpPr>
            <a:spLocks noGrp="1"/>
          </p:cNvSpPr>
          <p:nvPr>
            <p:ph type="title"/>
          </p:nvPr>
        </p:nvSpPr>
        <p:spPr>
          <a:xfrm>
            <a:off x="539750" y="360363"/>
            <a:ext cx="11088688" cy="971550"/>
          </a:xfrm>
        </p:spPr>
        <p:txBody>
          <a:bodyPr/>
          <a:lstStyle/>
          <a:p>
            <a:r>
              <a:rPr lang="fi-FI" dirty="0" err="1"/>
              <a:t>Målförslag</a:t>
            </a:r>
            <a:r>
              <a:rPr lang="fi-FI" dirty="0"/>
              <a:t>: </a:t>
            </a:r>
            <a:r>
              <a:rPr lang="fi-FI" dirty="0" err="1"/>
              <a:t>transportinfrastruktur</a:t>
            </a:r>
            <a:r>
              <a:rPr lang="fi-FI" dirty="0"/>
              <a:t> </a:t>
            </a:r>
          </a:p>
        </p:txBody>
      </p:sp>
      <p:sp>
        <p:nvSpPr>
          <p:cNvPr id="4" name="Tekstin paikkamerkki 3"/>
          <p:cNvSpPr>
            <a:spLocks noGrp="1"/>
          </p:cNvSpPr>
          <p:nvPr>
            <p:ph type="body" sz="quarter" idx="13"/>
          </p:nvPr>
        </p:nvSpPr>
        <p:spPr>
          <a:xfrm>
            <a:off x="539750" y="1692275"/>
            <a:ext cx="5219700" cy="4351338"/>
          </a:xfrm>
        </p:spPr>
        <p:txBody>
          <a:bodyPr/>
          <a:lstStyle/>
          <a:p>
            <a:pPr marL="0" indent="0">
              <a:buNone/>
            </a:pPr>
            <a:r>
              <a:rPr lang="fi-FI" b="1" dirty="0">
                <a:solidFill>
                  <a:schemeClr val="tx2"/>
                </a:solidFill>
              </a:rPr>
              <a:t>1. </a:t>
            </a:r>
            <a:r>
              <a:rPr lang="sv-SE" b="1" dirty="0">
                <a:solidFill>
                  <a:schemeClr val="tx2"/>
                </a:solidFill>
              </a:rPr>
              <a:t>Transportinfrastrukturen är tillgänglig och till nytta för alla människor.</a:t>
            </a:r>
          </a:p>
          <a:p>
            <a:pPr marL="0" indent="0">
              <a:buNone/>
            </a:pPr>
            <a:r>
              <a:rPr lang="fi-FI" dirty="0" err="1"/>
              <a:t>När</a:t>
            </a:r>
            <a:r>
              <a:rPr lang="fi-FI" dirty="0"/>
              <a:t> </a:t>
            </a:r>
            <a:r>
              <a:rPr lang="fi-FI" dirty="0" err="1"/>
              <a:t>ny</a:t>
            </a:r>
            <a:r>
              <a:rPr lang="fi-FI" dirty="0"/>
              <a:t> </a:t>
            </a:r>
            <a:r>
              <a:rPr lang="fi-FI" dirty="0" err="1"/>
              <a:t>infrastruktur</a:t>
            </a:r>
            <a:r>
              <a:rPr lang="fi-FI" dirty="0"/>
              <a:t> </a:t>
            </a:r>
            <a:r>
              <a:rPr lang="fi-FI" dirty="0" err="1"/>
              <a:t>byggs</a:t>
            </a:r>
            <a:r>
              <a:rPr lang="fi-FI" dirty="0"/>
              <a:t> </a:t>
            </a:r>
            <a:r>
              <a:rPr lang="fi-FI" dirty="0" err="1"/>
              <a:t>eller</a:t>
            </a:r>
            <a:r>
              <a:rPr lang="fi-FI" dirty="0"/>
              <a:t> </a:t>
            </a:r>
            <a:r>
              <a:rPr lang="fi-FI" dirty="0" err="1"/>
              <a:t>befintlig</a:t>
            </a:r>
            <a:r>
              <a:rPr lang="fi-FI" dirty="0"/>
              <a:t> </a:t>
            </a:r>
            <a:r>
              <a:rPr lang="fi-FI" dirty="0" err="1"/>
              <a:t>infrastruktur</a:t>
            </a:r>
            <a:r>
              <a:rPr lang="fi-FI" dirty="0"/>
              <a:t> </a:t>
            </a:r>
            <a:r>
              <a:rPr lang="fi-FI" dirty="0" err="1"/>
              <a:t>förnyas</a:t>
            </a:r>
            <a:r>
              <a:rPr lang="fi-FI" dirty="0"/>
              <a:t> </a:t>
            </a:r>
            <a:r>
              <a:rPr lang="fi-FI" dirty="0" err="1"/>
              <a:t>görs</a:t>
            </a:r>
            <a:r>
              <a:rPr lang="fi-FI" dirty="0"/>
              <a:t> </a:t>
            </a:r>
            <a:r>
              <a:rPr lang="fi-FI" dirty="0" err="1"/>
              <a:t>det</a:t>
            </a:r>
            <a:r>
              <a:rPr lang="fi-FI" dirty="0"/>
              <a:t> </a:t>
            </a:r>
            <a:r>
              <a:rPr lang="fi-FI" dirty="0" err="1"/>
              <a:t>med</a:t>
            </a:r>
            <a:r>
              <a:rPr lang="fi-FI" dirty="0"/>
              <a:t> </a:t>
            </a:r>
            <a:r>
              <a:rPr lang="fi-FI" dirty="0" err="1"/>
              <a:t>tillgängligheten</a:t>
            </a:r>
            <a:r>
              <a:rPr lang="fi-FI" dirty="0"/>
              <a:t> i </a:t>
            </a:r>
            <a:r>
              <a:rPr lang="fi-FI" dirty="0" err="1"/>
              <a:t>åtanke</a:t>
            </a:r>
            <a:r>
              <a:rPr lang="fi-FI" dirty="0"/>
              <a:t>. </a:t>
            </a:r>
            <a:r>
              <a:rPr lang="fi-FI" dirty="0" err="1"/>
              <a:t>Tillgänglig</a:t>
            </a:r>
            <a:r>
              <a:rPr lang="fi-FI" dirty="0"/>
              <a:t> </a:t>
            </a:r>
            <a:r>
              <a:rPr lang="fi-FI" dirty="0" err="1"/>
              <a:t>infrastruktur</a:t>
            </a:r>
            <a:r>
              <a:rPr lang="fi-FI" dirty="0"/>
              <a:t> </a:t>
            </a:r>
            <a:r>
              <a:rPr lang="fi-FI" dirty="0" err="1"/>
              <a:t>är</a:t>
            </a:r>
            <a:r>
              <a:rPr lang="fi-FI" dirty="0"/>
              <a:t> </a:t>
            </a:r>
            <a:r>
              <a:rPr lang="fi-FI" dirty="0" err="1"/>
              <a:t>trygg</a:t>
            </a:r>
            <a:r>
              <a:rPr lang="fi-FI" dirty="0"/>
              <a:t> </a:t>
            </a:r>
            <a:r>
              <a:rPr lang="fi-FI" dirty="0" err="1"/>
              <a:t>infrastruktur</a:t>
            </a:r>
            <a:r>
              <a:rPr lang="fi-FI" dirty="0"/>
              <a:t>. En </a:t>
            </a:r>
            <a:r>
              <a:rPr lang="fi-FI" dirty="0" err="1"/>
              <a:t>framtidssäkrad</a:t>
            </a:r>
            <a:r>
              <a:rPr lang="fi-FI" dirty="0"/>
              <a:t> </a:t>
            </a:r>
            <a:r>
              <a:rPr lang="fi-FI" dirty="0" err="1"/>
              <a:t>infrastruktur</a:t>
            </a:r>
            <a:r>
              <a:rPr lang="fi-FI" dirty="0"/>
              <a:t> </a:t>
            </a:r>
            <a:r>
              <a:rPr lang="fi-FI" dirty="0" err="1"/>
              <a:t>säkerställer</a:t>
            </a:r>
            <a:r>
              <a:rPr lang="fi-FI" dirty="0"/>
              <a:t> en </a:t>
            </a:r>
            <a:r>
              <a:rPr lang="fi-FI" dirty="0" err="1"/>
              <a:t>smidig</a:t>
            </a:r>
            <a:r>
              <a:rPr lang="fi-FI" dirty="0"/>
              <a:t> </a:t>
            </a:r>
            <a:r>
              <a:rPr lang="fi-FI" dirty="0" err="1"/>
              <a:t>vardag</a:t>
            </a:r>
            <a:r>
              <a:rPr lang="fi-FI" dirty="0"/>
              <a:t> </a:t>
            </a:r>
            <a:r>
              <a:rPr lang="fi-FI" dirty="0" err="1"/>
              <a:t>såväl</a:t>
            </a:r>
            <a:r>
              <a:rPr lang="fi-FI" dirty="0"/>
              <a:t> </a:t>
            </a:r>
            <a:r>
              <a:rPr lang="fi-FI" dirty="0" err="1"/>
              <a:t>på</a:t>
            </a:r>
            <a:r>
              <a:rPr lang="fi-FI" dirty="0"/>
              <a:t> </a:t>
            </a:r>
            <a:r>
              <a:rPr lang="fi-FI" dirty="0" err="1"/>
              <a:t>gång</a:t>
            </a:r>
            <a:r>
              <a:rPr lang="fi-FI" dirty="0"/>
              <a:t>- </a:t>
            </a:r>
            <a:r>
              <a:rPr lang="fi-FI" dirty="0" err="1"/>
              <a:t>och</a:t>
            </a:r>
            <a:r>
              <a:rPr lang="fi-FI" dirty="0"/>
              <a:t> </a:t>
            </a:r>
            <a:r>
              <a:rPr lang="fi-FI" dirty="0" err="1"/>
              <a:t>trafikleder</a:t>
            </a:r>
            <a:r>
              <a:rPr lang="fi-FI" dirty="0"/>
              <a:t> </a:t>
            </a:r>
            <a:r>
              <a:rPr lang="fi-FI" dirty="0" err="1"/>
              <a:t>som</a:t>
            </a:r>
            <a:r>
              <a:rPr lang="fi-FI" dirty="0"/>
              <a:t> i </a:t>
            </a:r>
            <a:r>
              <a:rPr lang="fi-FI" dirty="0" err="1"/>
              <a:t>kollektivtrafiken</a:t>
            </a:r>
            <a:r>
              <a:rPr lang="fi-FI" dirty="0"/>
              <a:t> </a:t>
            </a:r>
            <a:r>
              <a:rPr lang="fi-FI" dirty="0" err="1"/>
              <a:t>och</a:t>
            </a:r>
            <a:r>
              <a:rPr lang="fi-FI" dirty="0"/>
              <a:t> </a:t>
            </a:r>
            <a:r>
              <a:rPr lang="fi-FI" dirty="0" err="1"/>
              <a:t>med</a:t>
            </a:r>
            <a:r>
              <a:rPr lang="fi-FI" dirty="0"/>
              <a:t> </a:t>
            </a:r>
            <a:r>
              <a:rPr lang="fi-FI" dirty="0" err="1"/>
              <a:t>egen</a:t>
            </a:r>
            <a:r>
              <a:rPr lang="fi-FI" dirty="0"/>
              <a:t> </a:t>
            </a:r>
            <a:r>
              <a:rPr lang="fi-FI" dirty="0" err="1"/>
              <a:t>bil</a:t>
            </a:r>
            <a:r>
              <a:rPr lang="fi-FI" dirty="0"/>
              <a:t>. </a:t>
            </a:r>
            <a:r>
              <a:rPr lang="fi-FI" dirty="0" err="1"/>
              <a:t>Tillgänglig</a:t>
            </a:r>
            <a:r>
              <a:rPr lang="fi-FI" dirty="0"/>
              <a:t> </a:t>
            </a:r>
            <a:r>
              <a:rPr lang="fi-FI" dirty="0" err="1"/>
              <a:t>parkering</a:t>
            </a:r>
            <a:r>
              <a:rPr lang="fi-FI" dirty="0"/>
              <a:t> </a:t>
            </a:r>
            <a:r>
              <a:rPr lang="fi-FI" dirty="0" err="1"/>
              <a:t>och</a:t>
            </a:r>
            <a:r>
              <a:rPr lang="fi-FI" dirty="0"/>
              <a:t> </a:t>
            </a:r>
            <a:r>
              <a:rPr lang="fi-FI" dirty="0" err="1"/>
              <a:t>laddning</a:t>
            </a:r>
            <a:r>
              <a:rPr lang="fi-FI" dirty="0"/>
              <a:t> av </a:t>
            </a:r>
            <a:r>
              <a:rPr lang="fi-FI" dirty="0" err="1"/>
              <a:t>elbilar</a:t>
            </a:r>
            <a:r>
              <a:rPr lang="fi-FI" dirty="0"/>
              <a:t> </a:t>
            </a:r>
            <a:r>
              <a:rPr lang="fi-FI" dirty="0" err="1"/>
              <a:t>ska</a:t>
            </a:r>
            <a:r>
              <a:rPr lang="fi-FI" dirty="0"/>
              <a:t> vara </a:t>
            </a:r>
            <a:r>
              <a:rPr lang="fi-FI" dirty="0" err="1"/>
              <a:t>möjlig</a:t>
            </a:r>
            <a:r>
              <a:rPr lang="fi-FI" dirty="0"/>
              <a:t> </a:t>
            </a:r>
            <a:r>
              <a:rPr lang="fi-FI" dirty="0" err="1"/>
              <a:t>överallt</a:t>
            </a:r>
            <a:r>
              <a:rPr lang="fi-FI" dirty="0"/>
              <a:t>. </a:t>
            </a:r>
          </a:p>
          <a:p>
            <a:pPr marL="0" indent="0">
              <a:buNone/>
            </a:pPr>
            <a:endParaRPr lang="fi-FI" dirty="0"/>
          </a:p>
        </p:txBody>
      </p:sp>
      <p:sp>
        <p:nvSpPr>
          <p:cNvPr id="8" name="Text Placeholder 7">
            <a:extLst>
              <a:ext uri="{FF2B5EF4-FFF2-40B4-BE49-F238E27FC236}">
                <a16:creationId xmlns:a16="http://schemas.microsoft.com/office/drawing/2014/main" id="{4783DFB3-2CDF-0786-1261-6C5C0A8C35D4}"/>
              </a:ext>
            </a:extLst>
          </p:cNvPr>
          <p:cNvSpPr>
            <a:spLocks noGrp="1"/>
          </p:cNvSpPr>
          <p:nvPr>
            <p:ph type="body" sz="quarter" idx="14"/>
          </p:nvPr>
        </p:nvSpPr>
        <p:spPr>
          <a:xfrm>
            <a:off x="6408738" y="1692275"/>
            <a:ext cx="5219700" cy="4351338"/>
          </a:xfrm>
        </p:spPr>
        <p:txBody>
          <a:bodyPr/>
          <a:lstStyle/>
          <a:p>
            <a:pPr marL="0" indent="0">
              <a:buNone/>
            </a:pPr>
            <a:r>
              <a:rPr lang="fi-FI" b="1" dirty="0" smtClean="0">
                <a:solidFill>
                  <a:schemeClr val="tx2"/>
                </a:solidFill>
              </a:rPr>
              <a:t>2. </a:t>
            </a:r>
            <a:r>
              <a:rPr lang="sv-SE" b="1" dirty="0">
                <a:solidFill>
                  <a:schemeClr val="tx2"/>
                </a:solidFill>
              </a:rPr>
              <a:t>Underhållet och skötseln av infrastrukturen säkerställer tillgängligheten och säkerheten året runt.</a:t>
            </a:r>
          </a:p>
          <a:p>
            <a:pPr marL="0" indent="0">
              <a:buNone/>
            </a:pPr>
            <a:r>
              <a:rPr lang="fi-FI" dirty="0" err="1" smtClean="0"/>
              <a:t>Infrastrukturen</a:t>
            </a:r>
            <a:r>
              <a:rPr lang="fi-FI" dirty="0" smtClean="0"/>
              <a:t> </a:t>
            </a:r>
            <a:r>
              <a:rPr lang="fi-FI" dirty="0" err="1"/>
              <a:t>sköts</a:t>
            </a:r>
            <a:r>
              <a:rPr lang="fi-FI" dirty="0"/>
              <a:t> </a:t>
            </a:r>
            <a:r>
              <a:rPr lang="fi-FI" dirty="0" err="1"/>
              <a:t>långsiktigt</a:t>
            </a:r>
            <a:r>
              <a:rPr lang="fi-FI" dirty="0"/>
              <a:t> </a:t>
            </a:r>
            <a:r>
              <a:rPr lang="fi-FI" dirty="0" err="1"/>
              <a:t>med</a:t>
            </a:r>
            <a:r>
              <a:rPr lang="fi-FI" dirty="0"/>
              <a:t> </a:t>
            </a:r>
            <a:r>
              <a:rPr lang="fi-FI" dirty="0" err="1"/>
              <a:t>hänsyn</a:t>
            </a:r>
            <a:r>
              <a:rPr lang="fi-FI" dirty="0"/>
              <a:t> </a:t>
            </a:r>
            <a:r>
              <a:rPr lang="fi-FI" dirty="0" err="1"/>
              <a:t>till</a:t>
            </a:r>
            <a:r>
              <a:rPr lang="fi-FI" dirty="0"/>
              <a:t> </a:t>
            </a:r>
            <a:r>
              <a:rPr lang="fi-FI" dirty="0" err="1"/>
              <a:t>olika</a:t>
            </a:r>
            <a:r>
              <a:rPr lang="fi-FI" dirty="0"/>
              <a:t> </a:t>
            </a:r>
            <a:r>
              <a:rPr lang="fi-FI" dirty="0" err="1"/>
              <a:t>tillgänglighetsbehov</a:t>
            </a:r>
            <a:r>
              <a:rPr lang="fi-FI" dirty="0"/>
              <a:t>. </a:t>
            </a:r>
            <a:r>
              <a:rPr lang="fi-FI" dirty="0" err="1"/>
              <a:t>Vinterunderhållet</a:t>
            </a:r>
            <a:r>
              <a:rPr lang="fi-FI" dirty="0"/>
              <a:t> </a:t>
            </a:r>
            <a:r>
              <a:rPr lang="fi-FI" dirty="0" err="1"/>
              <a:t>utvecklas</a:t>
            </a:r>
            <a:r>
              <a:rPr lang="fi-FI" dirty="0"/>
              <a:t> </a:t>
            </a:r>
            <a:r>
              <a:rPr lang="fi-FI" dirty="0" err="1"/>
              <a:t>så</a:t>
            </a:r>
            <a:r>
              <a:rPr lang="fi-FI" dirty="0"/>
              <a:t> </a:t>
            </a:r>
            <a:r>
              <a:rPr lang="fi-FI" dirty="0" err="1"/>
              <a:t>att</a:t>
            </a:r>
            <a:r>
              <a:rPr lang="fi-FI" dirty="0"/>
              <a:t> </a:t>
            </a:r>
            <a:r>
              <a:rPr lang="fi-FI" dirty="0" err="1"/>
              <a:t>transportmedlen</a:t>
            </a:r>
            <a:r>
              <a:rPr lang="fi-FI" dirty="0"/>
              <a:t> </a:t>
            </a:r>
            <a:r>
              <a:rPr lang="fi-FI" dirty="0" err="1"/>
              <a:t>och</a:t>
            </a:r>
            <a:r>
              <a:rPr lang="fi-FI" dirty="0"/>
              <a:t> </a:t>
            </a:r>
            <a:r>
              <a:rPr lang="fi-FI" dirty="0" err="1"/>
              <a:t>den</a:t>
            </a:r>
            <a:r>
              <a:rPr lang="fi-FI" dirty="0"/>
              <a:t> </a:t>
            </a:r>
            <a:r>
              <a:rPr lang="fi-FI" dirty="0" err="1"/>
              <a:t>övriga</a:t>
            </a:r>
            <a:r>
              <a:rPr lang="fi-FI" dirty="0"/>
              <a:t> </a:t>
            </a:r>
            <a:r>
              <a:rPr lang="fi-FI" dirty="0" err="1"/>
              <a:t>infrastrukturen</a:t>
            </a:r>
            <a:r>
              <a:rPr lang="fi-FI" dirty="0"/>
              <a:t> </a:t>
            </a:r>
            <a:r>
              <a:rPr lang="fi-FI" dirty="0" err="1"/>
              <a:t>kan</a:t>
            </a:r>
            <a:r>
              <a:rPr lang="fi-FI" dirty="0"/>
              <a:t> </a:t>
            </a:r>
            <a:r>
              <a:rPr lang="fi-FI" dirty="0" err="1"/>
              <a:t>nås</a:t>
            </a:r>
            <a:r>
              <a:rPr lang="fi-FI" dirty="0"/>
              <a:t> </a:t>
            </a:r>
            <a:r>
              <a:rPr lang="fi-FI" dirty="0" err="1"/>
              <a:t>året</a:t>
            </a:r>
            <a:r>
              <a:rPr lang="fi-FI" dirty="0"/>
              <a:t> </a:t>
            </a:r>
            <a:r>
              <a:rPr lang="fi-FI" dirty="0" err="1"/>
              <a:t>runt</a:t>
            </a:r>
            <a:r>
              <a:rPr lang="fi-FI" dirty="0"/>
              <a:t>.</a:t>
            </a:r>
          </a:p>
          <a:p>
            <a:endParaRPr lang="en-FI" dirty="0"/>
          </a:p>
        </p:txBody>
      </p:sp>
      <p:sp>
        <p:nvSpPr>
          <p:cNvPr id="5" name="Päivämäärän paikkamerkki 4"/>
          <p:cNvSpPr>
            <a:spLocks noGrp="1"/>
          </p:cNvSpPr>
          <p:nvPr>
            <p:ph type="dt" sz="half" idx="15"/>
          </p:nvPr>
        </p:nvSpPr>
        <p:spPr>
          <a:xfrm>
            <a:off x="1574127" y="6462511"/>
            <a:ext cx="732232" cy="180001"/>
          </a:xfrm>
        </p:spPr>
        <p:txBody>
          <a:bodyPr/>
          <a:lstStyle/>
          <a:p>
            <a:fld id="{4CBB4192-9318-4B3B-B74F-5996198BFC81}" type="datetime1">
              <a:rPr lang="fi-FI" smtClean="0"/>
              <a:pPr/>
              <a:t>26.6.2023</a:t>
            </a:fld>
            <a:endParaRPr lang="fi-FI"/>
          </a:p>
        </p:txBody>
      </p:sp>
      <p:sp>
        <p:nvSpPr>
          <p:cNvPr id="6" name="Alatunnisteen paikkamerkki 5"/>
          <p:cNvSpPr>
            <a:spLocks noGrp="1"/>
          </p:cNvSpPr>
          <p:nvPr>
            <p:ph type="ftr" sz="quarter" idx="16"/>
          </p:nvPr>
        </p:nvSpPr>
        <p:spPr>
          <a:xfrm>
            <a:off x="2327401" y="6462511"/>
            <a:ext cx="4441819" cy="180001"/>
          </a:xfrm>
        </p:spPr>
        <p:txBody>
          <a:bodyPr/>
          <a:lstStyle/>
          <a:p>
            <a:endParaRPr lang="fi-FI" dirty="0"/>
          </a:p>
        </p:txBody>
      </p:sp>
      <p:sp>
        <p:nvSpPr>
          <p:cNvPr id="7" name="Dian numeron paikkamerkki 6"/>
          <p:cNvSpPr>
            <a:spLocks noGrp="1"/>
          </p:cNvSpPr>
          <p:nvPr>
            <p:ph type="sldNum" sz="quarter" idx="17"/>
          </p:nvPr>
        </p:nvSpPr>
        <p:spPr>
          <a:xfrm>
            <a:off x="1233227" y="6462512"/>
            <a:ext cx="323834" cy="180000"/>
          </a:xfrm>
        </p:spPr>
        <p:txBody>
          <a:bodyPr/>
          <a:lstStyle/>
          <a:p>
            <a:fld id="{628F3778-6073-48C0-8E18-EFC09B82139A}" type="slidenum">
              <a:rPr lang="fi-FI" smtClean="0"/>
              <a:pPr/>
              <a:t>8</a:t>
            </a:fld>
            <a:endParaRPr lang="fi-FI"/>
          </a:p>
        </p:txBody>
      </p:sp>
    </p:spTree>
    <p:extLst>
      <p:ext uri="{BB962C8B-B14F-4D97-AF65-F5344CB8AC3E}">
        <p14:creationId xmlns:p14="http://schemas.microsoft.com/office/powerpoint/2010/main" val="6163682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tsikko 2"/>
          <p:cNvSpPr>
            <a:spLocks noGrp="1"/>
          </p:cNvSpPr>
          <p:nvPr>
            <p:ph type="title"/>
          </p:nvPr>
        </p:nvSpPr>
        <p:spPr>
          <a:xfrm>
            <a:off x="540000" y="360000"/>
            <a:ext cx="11088000" cy="972000"/>
          </a:xfrm>
        </p:spPr>
        <p:txBody>
          <a:bodyPr/>
          <a:lstStyle/>
          <a:p>
            <a:r>
              <a:rPr lang="fi-FI" dirty="0" err="1"/>
              <a:t>Målförslag</a:t>
            </a:r>
            <a:r>
              <a:rPr lang="fi-FI" dirty="0"/>
              <a:t>: </a:t>
            </a:r>
            <a:r>
              <a:rPr lang="fi-FI" dirty="0" err="1"/>
              <a:t>transportservice</a:t>
            </a:r>
            <a:r>
              <a:rPr lang="fi-FI" dirty="0"/>
              <a:t> </a:t>
            </a:r>
          </a:p>
        </p:txBody>
      </p:sp>
      <p:sp>
        <p:nvSpPr>
          <p:cNvPr id="4" name="Tekstin paikkamerkki 3"/>
          <p:cNvSpPr>
            <a:spLocks noGrp="1"/>
          </p:cNvSpPr>
          <p:nvPr>
            <p:ph type="body" sz="quarter" idx="13"/>
          </p:nvPr>
        </p:nvSpPr>
        <p:spPr>
          <a:xfrm>
            <a:off x="540000" y="1692000"/>
            <a:ext cx="5220000" cy="4351338"/>
          </a:xfrm>
        </p:spPr>
        <p:txBody>
          <a:bodyPr/>
          <a:lstStyle/>
          <a:p>
            <a:pPr marL="0" indent="0">
              <a:buNone/>
            </a:pPr>
            <a:r>
              <a:rPr lang="fi-FI" b="1" dirty="0">
                <a:solidFill>
                  <a:schemeClr val="tx2"/>
                </a:solidFill>
              </a:rPr>
              <a:t>1. </a:t>
            </a:r>
            <a:r>
              <a:rPr lang="sv-SE" b="1" dirty="0">
                <a:solidFill>
                  <a:schemeClr val="tx2"/>
                </a:solidFill>
              </a:rPr>
              <a:t>Nya trafiktjänster och digitala tjänster planeras så att de är tillgängliga.</a:t>
            </a:r>
          </a:p>
          <a:p>
            <a:pPr marL="0" indent="0">
              <a:buNone/>
            </a:pPr>
            <a:r>
              <a:rPr lang="fi-FI" dirty="0" err="1"/>
              <a:t>Tillgängligheten</a:t>
            </a:r>
            <a:r>
              <a:rPr lang="fi-FI" dirty="0"/>
              <a:t> </a:t>
            </a:r>
            <a:r>
              <a:rPr lang="fi-FI" dirty="0" err="1"/>
              <a:t>tas</a:t>
            </a:r>
            <a:r>
              <a:rPr lang="fi-FI" dirty="0"/>
              <a:t> i </a:t>
            </a:r>
            <a:r>
              <a:rPr lang="fi-FI" dirty="0" err="1"/>
              <a:t>beaktande</a:t>
            </a:r>
            <a:r>
              <a:rPr lang="fi-FI" dirty="0"/>
              <a:t> i </a:t>
            </a:r>
            <a:r>
              <a:rPr lang="fi-FI" dirty="0" err="1"/>
              <a:t>planeringen</a:t>
            </a:r>
            <a:r>
              <a:rPr lang="fi-FI" dirty="0"/>
              <a:t> av alla </a:t>
            </a:r>
            <a:r>
              <a:rPr lang="fi-FI" dirty="0" err="1"/>
              <a:t>nya</a:t>
            </a:r>
            <a:r>
              <a:rPr lang="fi-FI" dirty="0"/>
              <a:t> </a:t>
            </a:r>
            <a:r>
              <a:rPr lang="fi-FI" dirty="0" err="1"/>
              <a:t>tjänster</a:t>
            </a:r>
            <a:r>
              <a:rPr lang="fi-FI" dirty="0"/>
              <a:t>. </a:t>
            </a:r>
            <a:r>
              <a:rPr lang="fi-FI" dirty="0" err="1"/>
              <a:t>Olika</a:t>
            </a:r>
            <a:r>
              <a:rPr lang="fi-FI" dirty="0"/>
              <a:t> </a:t>
            </a:r>
            <a:r>
              <a:rPr lang="fi-FI" dirty="0" err="1"/>
              <a:t>användarkategorier</a:t>
            </a:r>
            <a:r>
              <a:rPr lang="fi-FI" dirty="0"/>
              <a:t> </a:t>
            </a:r>
            <a:r>
              <a:rPr lang="fi-FI" dirty="0" err="1"/>
              <a:t>engageras</a:t>
            </a:r>
            <a:r>
              <a:rPr lang="fi-FI" dirty="0"/>
              <a:t> i </a:t>
            </a:r>
            <a:r>
              <a:rPr lang="fi-FI" dirty="0" err="1"/>
              <a:t>planeringen</a:t>
            </a:r>
            <a:r>
              <a:rPr lang="fi-FI" dirty="0"/>
              <a:t> av </a:t>
            </a:r>
            <a:r>
              <a:rPr lang="fi-FI" dirty="0" err="1"/>
              <a:t>tjänster</a:t>
            </a:r>
            <a:r>
              <a:rPr lang="fi-FI" dirty="0"/>
              <a:t>. </a:t>
            </a:r>
            <a:r>
              <a:rPr lang="fi-FI" dirty="0" err="1"/>
              <a:t>Det</a:t>
            </a:r>
            <a:r>
              <a:rPr lang="fi-FI" dirty="0"/>
              <a:t> </a:t>
            </a:r>
            <a:r>
              <a:rPr lang="fi-FI" dirty="0" err="1"/>
              <a:t>är</a:t>
            </a:r>
            <a:r>
              <a:rPr lang="fi-FI" dirty="0"/>
              <a:t> </a:t>
            </a:r>
            <a:r>
              <a:rPr lang="fi-FI" dirty="0" err="1"/>
              <a:t>viktigt</a:t>
            </a:r>
            <a:r>
              <a:rPr lang="fi-FI" dirty="0"/>
              <a:t> </a:t>
            </a:r>
            <a:r>
              <a:rPr lang="fi-FI" dirty="0" err="1"/>
              <a:t>att</a:t>
            </a:r>
            <a:r>
              <a:rPr lang="fi-FI" dirty="0"/>
              <a:t> alla </a:t>
            </a:r>
            <a:r>
              <a:rPr lang="fi-FI" dirty="0" err="1"/>
              <a:t>nya</a:t>
            </a:r>
            <a:r>
              <a:rPr lang="fi-FI" dirty="0"/>
              <a:t> </a:t>
            </a:r>
            <a:r>
              <a:rPr lang="fi-FI" dirty="0" err="1"/>
              <a:t>tjänster</a:t>
            </a:r>
            <a:r>
              <a:rPr lang="fi-FI" dirty="0"/>
              <a:t> </a:t>
            </a:r>
            <a:r>
              <a:rPr lang="fi-FI" dirty="0" err="1"/>
              <a:t>planeras</a:t>
            </a:r>
            <a:r>
              <a:rPr lang="fi-FI" dirty="0"/>
              <a:t> </a:t>
            </a:r>
            <a:r>
              <a:rPr lang="fi-FI" dirty="0" err="1"/>
              <a:t>så</a:t>
            </a:r>
            <a:r>
              <a:rPr lang="fi-FI" dirty="0"/>
              <a:t> </a:t>
            </a:r>
            <a:r>
              <a:rPr lang="fi-FI" dirty="0" err="1"/>
              <a:t>att</a:t>
            </a:r>
            <a:r>
              <a:rPr lang="fi-FI" dirty="0"/>
              <a:t> de </a:t>
            </a:r>
            <a:r>
              <a:rPr lang="fi-FI" dirty="0" err="1"/>
              <a:t>är</a:t>
            </a:r>
            <a:r>
              <a:rPr lang="fi-FI" dirty="0"/>
              <a:t> </a:t>
            </a:r>
            <a:r>
              <a:rPr lang="fi-FI" dirty="0" err="1"/>
              <a:t>tillgängliga</a:t>
            </a:r>
            <a:r>
              <a:rPr lang="fi-FI" dirty="0"/>
              <a:t>. </a:t>
            </a:r>
          </a:p>
          <a:p>
            <a:pPr marL="0" indent="0">
              <a:spcBef>
                <a:spcPts val="2400"/>
              </a:spcBef>
              <a:buNone/>
            </a:pPr>
            <a:r>
              <a:rPr lang="fi-FI" b="1" dirty="0" smtClean="0">
                <a:solidFill>
                  <a:schemeClr val="tx2"/>
                </a:solidFill>
              </a:rPr>
              <a:t>2</a:t>
            </a:r>
            <a:r>
              <a:rPr lang="fi-FI" b="1" dirty="0">
                <a:solidFill>
                  <a:schemeClr val="tx2"/>
                </a:solidFill>
              </a:rPr>
              <a:t>. </a:t>
            </a:r>
            <a:r>
              <a:rPr lang="sv-SE" b="1" dirty="0">
                <a:solidFill>
                  <a:schemeClr val="tx2"/>
                </a:solidFill>
              </a:rPr>
              <a:t>Kollektivtrafiktjänsterna är tillgängliga och stöder självständig mobilitet.</a:t>
            </a:r>
          </a:p>
          <a:p>
            <a:pPr marL="0" indent="0">
              <a:buNone/>
            </a:pPr>
            <a:r>
              <a:rPr lang="fi-FI" dirty="0" err="1"/>
              <a:t>Tillgängliga</a:t>
            </a:r>
            <a:r>
              <a:rPr lang="fi-FI" dirty="0"/>
              <a:t> </a:t>
            </a:r>
            <a:r>
              <a:rPr lang="fi-FI" dirty="0" err="1"/>
              <a:t>mobilitetstjänster</a:t>
            </a:r>
            <a:r>
              <a:rPr lang="fi-FI" dirty="0"/>
              <a:t> </a:t>
            </a:r>
            <a:r>
              <a:rPr lang="fi-FI" dirty="0" err="1"/>
              <a:t>möjliggör</a:t>
            </a:r>
            <a:r>
              <a:rPr lang="fi-FI" dirty="0"/>
              <a:t> en </a:t>
            </a:r>
            <a:r>
              <a:rPr lang="fi-FI" dirty="0" err="1"/>
              <a:t>självständig</a:t>
            </a:r>
            <a:r>
              <a:rPr lang="fi-FI" dirty="0"/>
              <a:t> </a:t>
            </a:r>
            <a:r>
              <a:rPr lang="fi-FI" dirty="0" err="1"/>
              <a:t>vardag</a:t>
            </a:r>
            <a:r>
              <a:rPr lang="fi-FI" dirty="0"/>
              <a:t>. </a:t>
            </a:r>
            <a:r>
              <a:rPr lang="fi-FI" dirty="0" err="1" smtClean="0"/>
              <a:t>Kollektivtrafiken</a:t>
            </a:r>
            <a:r>
              <a:rPr lang="fi-FI" dirty="0" smtClean="0"/>
              <a:t> </a:t>
            </a:r>
            <a:r>
              <a:rPr lang="fi-FI" dirty="0" err="1"/>
              <a:t>inkluderar</a:t>
            </a:r>
            <a:r>
              <a:rPr lang="fi-FI" dirty="0"/>
              <a:t> </a:t>
            </a:r>
            <a:r>
              <a:rPr lang="fi-FI" dirty="0" err="1"/>
              <a:t>flygtrafiken</a:t>
            </a:r>
            <a:r>
              <a:rPr lang="fi-FI" dirty="0"/>
              <a:t>, </a:t>
            </a:r>
            <a:r>
              <a:rPr lang="fi-FI" dirty="0" err="1"/>
              <a:t>båttrafiken</a:t>
            </a:r>
            <a:r>
              <a:rPr lang="fi-FI" dirty="0"/>
              <a:t>, </a:t>
            </a:r>
            <a:r>
              <a:rPr lang="fi-FI" dirty="0" err="1"/>
              <a:t>stadstrafiken</a:t>
            </a:r>
            <a:r>
              <a:rPr lang="fi-FI" dirty="0"/>
              <a:t>, </a:t>
            </a:r>
            <a:r>
              <a:rPr lang="fi-FI" dirty="0" err="1"/>
              <a:t>den</a:t>
            </a:r>
            <a:r>
              <a:rPr lang="fi-FI" dirty="0"/>
              <a:t> </a:t>
            </a:r>
            <a:r>
              <a:rPr lang="fi-FI" dirty="0" err="1"/>
              <a:t>marknadsbaserade</a:t>
            </a:r>
            <a:r>
              <a:rPr lang="fi-FI" dirty="0"/>
              <a:t> </a:t>
            </a:r>
            <a:r>
              <a:rPr lang="fi-FI" dirty="0" err="1"/>
              <a:t>trafiken</a:t>
            </a:r>
            <a:r>
              <a:rPr lang="fi-FI" dirty="0"/>
              <a:t> </a:t>
            </a:r>
            <a:r>
              <a:rPr lang="fi-FI" dirty="0" err="1"/>
              <a:t>med</a:t>
            </a:r>
            <a:r>
              <a:rPr lang="fi-FI" dirty="0"/>
              <a:t> </a:t>
            </a:r>
            <a:r>
              <a:rPr lang="fi-FI" dirty="0" err="1"/>
              <a:t>långfärdsbussar</a:t>
            </a:r>
            <a:r>
              <a:rPr lang="fi-FI" dirty="0"/>
              <a:t>, </a:t>
            </a:r>
            <a:r>
              <a:rPr lang="fi-FI" dirty="0" err="1"/>
              <a:t>spårtrafiken</a:t>
            </a:r>
            <a:r>
              <a:rPr lang="fi-FI" dirty="0"/>
              <a:t>, NTM-</a:t>
            </a:r>
            <a:r>
              <a:rPr lang="fi-FI" dirty="0" err="1"/>
              <a:t>trafiken</a:t>
            </a:r>
            <a:r>
              <a:rPr lang="fi-FI" dirty="0"/>
              <a:t> </a:t>
            </a:r>
            <a:r>
              <a:rPr lang="fi-FI" dirty="0" err="1"/>
              <a:t>och</a:t>
            </a:r>
            <a:r>
              <a:rPr lang="fi-FI" dirty="0"/>
              <a:t> </a:t>
            </a:r>
            <a:r>
              <a:rPr lang="fi-FI" dirty="0" err="1"/>
              <a:t>skärgårdstrafiken</a:t>
            </a:r>
            <a:r>
              <a:rPr lang="fi-FI" dirty="0"/>
              <a:t>. </a:t>
            </a:r>
            <a:r>
              <a:rPr lang="fi-FI" dirty="0" err="1"/>
              <a:t>Mer</a:t>
            </a:r>
            <a:r>
              <a:rPr lang="fi-FI" dirty="0"/>
              <a:t> </a:t>
            </a:r>
            <a:r>
              <a:rPr lang="fi-FI" dirty="0" err="1"/>
              <a:t>heltäckande</a:t>
            </a:r>
            <a:r>
              <a:rPr lang="fi-FI" dirty="0"/>
              <a:t> </a:t>
            </a:r>
            <a:r>
              <a:rPr lang="fi-FI" dirty="0" err="1"/>
              <a:t>tillgängliga</a:t>
            </a:r>
            <a:r>
              <a:rPr lang="fi-FI" dirty="0"/>
              <a:t> </a:t>
            </a:r>
            <a:r>
              <a:rPr lang="fi-FI" dirty="0" err="1"/>
              <a:t>tjänster</a:t>
            </a:r>
            <a:r>
              <a:rPr lang="fi-FI" dirty="0"/>
              <a:t> </a:t>
            </a:r>
            <a:r>
              <a:rPr lang="fi-FI" dirty="0" err="1"/>
              <a:t>kan</a:t>
            </a:r>
            <a:r>
              <a:rPr lang="fi-FI" dirty="0"/>
              <a:t> </a:t>
            </a:r>
            <a:r>
              <a:rPr lang="fi-FI" dirty="0" err="1"/>
              <a:t>eftersträvas</a:t>
            </a:r>
            <a:r>
              <a:rPr lang="fi-FI" dirty="0"/>
              <a:t> </a:t>
            </a:r>
            <a:r>
              <a:rPr lang="fi-FI" dirty="0" err="1"/>
              <a:t>genom</a:t>
            </a:r>
            <a:r>
              <a:rPr lang="fi-FI" dirty="0"/>
              <a:t> </a:t>
            </a:r>
            <a:r>
              <a:rPr lang="fi-FI" dirty="0" err="1"/>
              <a:t>att</a:t>
            </a:r>
            <a:r>
              <a:rPr lang="fi-FI" dirty="0"/>
              <a:t> </a:t>
            </a:r>
            <a:r>
              <a:rPr lang="fi-FI" dirty="0" err="1"/>
              <a:t>man</a:t>
            </a:r>
            <a:r>
              <a:rPr lang="fi-FI" dirty="0"/>
              <a:t> </a:t>
            </a:r>
            <a:r>
              <a:rPr lang="fi-FI" dirty="0" err="1"/>
              <a:t>kombinerar</a:t>
            </a:r>
            <a:r>
              <a:rPr lang="fi-FI" dirty="0"/>
              <a:t> </a:t>
            </a:r>
            <a:r>
              <a:rPr lang="fi-FI" dirty="0" err="1" smtClean="0"/>
              <a:t>resor</a:t>
            </a:r>
            <a:r>
              <a:rPr lang="fi-FI" dirty="0" smtClean="0"/>
              <a:t>.</a:t>
            </a:r>
            <a:endParaRPr lang="fi-FI" dirty="0"/>
          </a:p>
          <a:p>
            <a:pPr marL="0" indent="0">
              <a:buNone/>
            </a:pPr>
            <a:endParaRPr lang="fi-FI" dirty="0" smtClean="0"/>
          </a:p>
          <a:p>
            <a:pPr marL="0" indent="0">
              <a:buNone/>
            </a:pPr>
            <a:r>
              <a:rPr lang="fi-FI" dirty="0" smtClean="0"/>
              <a:t> </a:t>
            </a:r>
            <a:endParaRPr lang="fi-FI" dirty="0"/>
          </a:p>
          <a:p>
            <a:pPr marL="0" indent="0">
              <a:buNone/>
            </a:pPr>
            <a:endParaRPr lang="fi-FI" dirty="0"/>
          </a:p>
        </p:txBody>
      </p:sp>
      <p:sp>
        <p:nvSpPr>
          <p:cNvPr id="8" name="Text Placeholder 7">
            <a:extLst>
              <a:ext uri="{FF2B5EF4-FFF2-40B4-BE49-F238E27FC236}">
                <a16:creationId xmlns:a16="http://schemas.microsoft.com/office/drawing/2014/main" id="{9BDD3DDD-0650-AA3D-CB9D-8D5F2587795C}"/>
              </a:ext>
            </a:extLst>
          </p:cNvPr>
          <p:cNvSpPr>
            <a:spLocks noGrp="1"/>
          </p:cNvSpPr>
          <p:nvPr>
            <p:ph type="body" sz="quarter" idx="14"/>
          </p:nvPr>
        </p:nvSpPr>
        <p:spPr>
          <a:xfrm>
            <a:off x="6408000" y="1692000"/>
            <a:ext cx="5220000" cy="4351338"/>
          </a:xfrm>
        </p:spPr>
        <p:txBody>
          <a:bodyPr/>
          <a:lstStyle/>
          <a:p>
            <a:pPr marL="0" indent="0">
              <a:buNone/>
            </a:pPr>
            <a:r>
              <a:rPr lang="fi-FI" b="1" dirty="0" smtClean="0">
                <a:solidFill>
                  <a:schemeClr val="tx2"/>
                </a:solidFill>
              </a:rPr>
              <a:t>3. </a:t>
            </a:r>
            <a:r>
              <a:rPr lang="sv-SE" b="1" dirty="0">
                <a:solidFill>
                  <a:schemeClr val="tx2"/>
                </a:solidFill>
              </a:rPr>
              <a:t>Upphandlarna har den nödvändiga kompetensen för att upphandla tillgängliga trafiktjänster</a:t>
            </a:r>
            <a:r>
              <a:rPr lang="sv-SE" b="1" dirty="0" smtClean="0">
                <a:solidFill>
                  <a:schemeClr val="tx2"/>
                </a:solidFill>
              </a:rPr>
              <a:t>.</a:t>
            </a:r>
            <a:endParaRPr lang="fi-FI" b="1" dirty="0" smtClean="0">
              <a:solidFill>
                <a:schemeClr val="tx2"/>
              </a:solidFill>
            </a:endParaRPr>
          </a:p>
          <a:p>
            <a:pPr marL="0" indent="0">
              <a:buNone/>
            </a:pPr>
            <a:r>
              <a:rPr lang="sv-SE" dirty="0" smtClean="0"/>
              <a:t>Upphandlingskompetens </a:t>
            </a:r>
            <a:r>
              <a:rPr lang="sv-SE" dirty="0"/>
              <a:t>är ytterst viktigt när tillgängliga trafiktjänster ordnas. Därför är det viktigt att de myndigheter och andra aktörer som upphandlar tjänster förstår hurdana tjänster grupper med särskilda behov behöver och att de kan upphandla tjänster som motsvarar behoven. </a:t>
            </a:r>
          </a:p>
          <a:p>
            <a:pPr marL="0" indent="0">
              <a:buNone/>
            </a:pPr>
            <a:endParaRPr lang="en-FI" dirty="0"/>
          </a:p>
        </p:txBody>
      </p:sp>
      <p:sp>
        <p:nvSpPr>
          <p:cNvPr id="5" name="Päivämäärän paikkamerkki 4"/>
          <p:cNvSpPr>
            <a:spLocks noGrp="1"/>
          </p:cNvSpPr>
          <p:nvPr>
            <p:ph type="dt" sz="half" idx="15"/>
          </p:nvPr>
        </p:nvSpPr>
        <p:spPr>
          <a:xfrm>
            <a:off x="1574127" y="6462511"/>
            <a:ext cx="732232" cy="180001"/>
          </a:xfrm>
        </p:spPr>
        <p:txBody>
          <a:bodyPr/>
          <a:lstStyle/>
          <a:p>
            <a:fld id="{4CBB4192-9318-4B3B-B74F-5996198BFC81}" type="datetime1">
              <a:rPr lang="fi-FI" smtClean="0"/>
              <a:pPr/>
              <a:t>26.6.2023</a:t>
            </a:fld>
            <a:endParaRPr lang="fi-FI"/>
          </a:p>
        </p:txBody>
      </p:sp>
      <p:sp>
        <p:nvSpPr>
          <p:cNvPr id="6" name="Alatunnisteen paikkamerkki 5"/>
          <p:cNvSpPr>
            <a:spLocks noGrp="1"/>
          </p:cNvSpPr>
          <p:nvPr>
            <p:ph type="ftr" sz="quarter" idx="16"/>
          </p:nvPr>
        </p:nvSpPr>
        <p:spPr>
          <a:xfrm>
            <a:off x="2327401" y="6462511"/>
            <a:ext cx="4441819" cy="180001"/>
          </a:xfrm>
        </p:spPr>
        <p:txBody>
          <a:bodyPr/>
          <a:lstStyle/>
          <a:p>
            <a:endParaRPr lang="fi-FI" dirty="0"/>
          </a:p>
        </p:txBody>
      </p:sp>
      <p:sp>
        <p:nvSpPr>
          <p:cNvPr id="7" name="Dian numeron paikkamerkki 6"/>
          <p:cNvSpPr>
            <a:spLocks noGrp="1"/>
          </p:cNvSpPr>
          <p:nvPr>
            <p:ph type="sldNum" sz="quarter" idx="17"/>
          </p:nvPr>
        </p:nvSpPr>
        <p:spPr>
          <a:xfrm>
            <a:off x="1233227" y="6462512"/>
            <a:ext cx="323834" cy="180000"/>
          </a:xfrm>
        </p:spPr>
        <p:txBody>
          <a:bodyPr/>
          <a:lstStyle/>
          <a:p>
            <a:fld id="{628F3778-6073-48C0-8E18-EFC09B82139A}" type="slidenum">
              <a:rPr lang="fi-FI" smtClean="0"/>
              <a:pPr/>
              <a:t>9</a:t>
            </a:fld>
            <a:endParaRPr lang="fi-FI"/>
          </a:p>
        </p:txBody>
      </p:sp>
    </p:spTree>
    <p:extLst>
      <p:ext uri="{BB962C8B-B14F-4D97-AF65-F5344CB8AC3E}">
        <p14:creationId xmlns:p14="http://schemas.microsoft.com/office/powerpoint/2010/main" val="26707695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ZDkfWIaP5T50Uhmk3qbSy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vOPyxAM7VM4rmXZ.LoC28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TKYAa8KcYdlr2INhdxyms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UjtCoFMMjiczv85DhpgW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p0HRWI0eqR6cDj_Xzre6A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2_Dh5Rjz9K6FUNaZOj6vR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wMQNZOGmu3zvdHfAdj2Lr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vr9.oI9pO8oGdcDJniSu4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jc3LU.RGcSH9iwO_.Slsp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whpLj_yMiDX_Pgya6nZYL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2zQQPt.9sfNKd6O5AfreMw"/>
</p:tagLst>
</file>

<file path=ppt/theme/theme1.xml><?xml version="1.0" encoding="utf-8"?>
<a:theme xmlns:a="http://schemas.openxmlformats.org/drawingml/2006/main" name="Office-teema">
  <a:themeElements>
    <a:clrScheme name="LVM 100-60-vaihteleva">
      <a:dk1>
        <a:srgbClr val="000000"/>
      </a:dk1>
      <a:lt1>
        <a:srgbClr val="FFFFFF"/>
      </a:lt1>
      <a:dk2>
        <a:srgbClr val="0000FF"/>
      </a:dk2>
      <a:lt2>
        <a:srgbClr val="8E92A9"/>
      </a:lt2>
      <a:accent1>
        <a:srgbClr val="0000FF"/>
      </a:accent1>
      <a:accent2>
        <a:srgbClr val="8CAAFF"/>
      </a:accent2>
      <a:accent3>
        <a:srgbClr val="000096"/>
      </a:accent3>
      <a:accent4>
        <a:srgbClr val="66CC90"/>
      </a:accent4>
      <a:accent5>
        <a:srgbClr val="006A72"/>
      </a:accent5>
      <a:accent6>
        <a:srgbClr val="66C7DA"/>
      </a:accent6>
      <a:hlink>
        <a:srgbClr val="4072FF"/>
      </a:hlink>
      <a:folHlink>
        <a:srgbClr val="000096"/>
      </a:folHlink>
    </a:clrScheme>
    <a:fontScheme name="VN Arial theme">
      <a:majorFont>
        <a:latin typeface="Arial Bold"/>
        <a:ea typeface=""/>
        <a:cs typeface=""/>
        <a:font script="Jpan" typeface="ＭＳ Ｐゴシック"/>
        <a:font script="Hang" typeface="HY견고딕"/>
        <a:font script="Hans" typeface="宋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ゴシック"/>
        <a:font script="Hang" typeface="HY중고딕"/>
        <a:font script="Hans" typeface="黑体"/>
        <a:font script="Hant" typeface="微軟正黑體"/>
        <a:font script="Arab" typeface="Tahoma"/>
        <a:font script="Hebr" typeface="Levenim MT"/>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31750">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dirty="0" err="1" smtClean="0"/>
        </a:defPPr>
      </a:lstStyle>
    </a:txDef>
  </a:objectDefaults>
  <a:extraClrSchemeLst/>
  <a:extLst>
    <a:ext uri="{05A4C25C-085E-4340-85A3-A5531E510DB2}">
      <thm15:themeFamily xmlns:thm15="http://schemas.microsoft.com/office/thememl/2012/main" name="LVM.potx" id="{566EDBE9-235D-4A99-AE1C-C078D0AB34ED}" vid="{EBB18539-B318-466E-A0BB-88F43EA920A8}"/>
    </a:ext>
  </a:extLst>
</a:theme>
</file>

<file path=ppt/theme/theme2.xml><?xml version="1.0" encoding="utf-8"?>
<a:theme xmlns:a="http://schemas.openxmlformats.org/drawingml/2006/main" name="Office-teema">
  <a:themeElements>
    <a:clrScheme name="LVM">
      <a:dk1>
        <a:srgbClr val="3C3C3C"/>
      </a:dk1>
      <a:lt1>
        <a:sysClr val="window" lastClr="FFFFFF"/>
      </a:lt1>
      <a:dk2>
        <a:srgbClr val="44546A"/>
      </a:dk2>
      <a:lt2>
        <a:srgbClr val="E7E6E6"/>
      </a:lt2>
      <a:accent1>
        <a:srgbClr val="0000FF"/>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LVM">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te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Source xmlns="http://schemas.microsoft.com/sharepoint/v3/fields" xsi:nil="true"/>
    <AlternateThumbnailUrl xmlns="http://schemas.microsoft.com/sharepoint/v3">
      <Url xsi:nil="true"/>
      <Description xsi:nil="true"/>
    </AlternateThumbnailUrl>
    <TaxKeywordTaxHTField xmlns="ebb82943-49da-4504-a2f3-a33fb2eb95f1">
      <Terms xmlns="http://schemas.microsoft.com/office/infopath/2007/PartnerControls"/>
    </TaxKeywordTaxHTField>
    <ImageCreateDate xmlns="http://schemas.microsoft.com/sharepoint/v3" xsi:nil="true"/>
    <TaxCatchAll xmlns="ebb82943-49da-4504-a2f3-a33fb2eb95f1"/>
    <wic_System_Copyright xmlns="http://schemas.microsoft.com/sharepoint/v3/fields" xsi:nil="true"/>
    <Description xmlns="http://schemas.microsoft.com/sharepoint/v3" xsi:nil="true"/>
    <SharedWithUsers xmlns="ebb82943-49da-4504-a2f3-a33fb2eb95f1">
      <UserInfo>
        <DisplayName>aino.sipari@gov.gi</DisplayName>
        <AccountId>481</AccountId>
        <AccountType/>
      </UserInfo>
      <UserInfo>
        <DisplayName>mikael.akermark@gov.fi</DisplayName>
        <AccountId>482</AccountId>
        <AccountType/>
      </UserInfo>
      <UserInfo>
        <DisplayName>eveliina.uusitalo@gov.fi</DisplayName>
        <AccountId>448</AccountId>
        <AccountType/>
      </UserInfo>
      <UserInfo>
        <DisplayName>Anni Takanen</DisplayName>
        <AccountId>299</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Kuvaobjekti" ma:contentTypeID="0x010102008C3A917AD7B13B4CBA873D64B4B578D3" ma:contentTypeVersion="8" ma:contentTypeDescription="Lataa kuva tai valokuva." ma:contentTypeScope="" ma:versionID="c2311c431031ab7c2a0b9d3154f094b1">
  <xsd:schema xmlns:xsd="http://www.w3.org/2001/XMLSchema" xmlns:xs="http://www.w3.org/2001/XMLSchema" xmlns:p="http://schemas.microsoft.com/office/2006/metadata/properties" xmlns:ns1="http://schemas.microsoft.com/sharepoint/v3" xmlns:ns2="http://schemas.microsoft.com/sharepoint/v3/fields" xmlns:ns3="ebb82943-49da-4504-a2f3-a33fb2eb95f1" targetNamespace="http://schemas.microsoft.com/office/2006/metadata/properties" ma:root="true" ma:fieldsID="6244778ae86235385baf5753d6ec42c5" ns1:_="" ns2:_="" ns3:_="">
    <xsd:import namespace="http://schemas.microsoft.com/sharepoint/v3"/>
    <xsd:import namespace="http://schemas.microsoft.com/sharepoint/v3/fields"/>
    <xsd:import namespace="ebb82943-49da-4504-a2f3-a33fb2eb95f1"/>
    <xsd:element name="properties">
      <xsd:complexType>
        <xsd:sequence>
          <xsd:element name="documentManagement">
            <xsd:complexType>
              <xsd:all>
                <xsd:element ref="ns1:ImageCreateDate" minOccurs="0"/>
                <xsd:element ref="ns1:Description" minOccurs="0"/>
                <xsd:element ref="ns1:ImageWidth" minOccurs="0"/>
                <xsd:element ref="ns1:ImageHeight" minOccurs="0"/>
                <xsd:element ref="ns1:ThumbnailExists" minOccurs="0"/>
                <xsd:element ref="ns1:PreviewExists" minOccurs="0"/>
                <xsd:element ref="ns1:AlternateThumbnailUrl" minOccurs="0"/>
                <xsd:element ref="ns2:wic_System_Copyright" minOccurs="0"/>
                <xsd:element ref="ns3:SharedWithUsers" minOccurs="0"/>
                <xsd:element ref="ns2:_Source" minOccurs="0"/>
                <xsd:element ref="ns3:TaxKeywordTaxHTField"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ImageCreateDate" ma:index="5" nillable="true" ma:displayName="Kuvattu" ma:format="DateTime" ma:hidden="true" ma:internalName="ImageCreateDate">
      <xsd:simpleType>
        <xsd:restriction base="dms:DateTime"/>
      </xsd:simpleType>
    </xsd:element>
    <xsd:element name="Description" ma:index="6" nillable="true" ma:displayName="Kuvaus" ma:description="Käytetään kuvan vaihtoehtoisena tekstinä." ma:hidden="true" ma:internalName="Description">
      <xsd:simpleType>
        <xsd:restriction base="dms:Note">
          <xsd:maxLength value="255"/>
        </xsd:restriction>
      </xsd:simpleType>
    </xsd:element>
    <xsd:element name="ImageWidth" ma:index="10" nillable="true" ma:displayName="Kuvan leveys" ma:internalName="ImageWidth" ma:readOnly="true">
      <xsd:simpleType>
        <xsd:restriction base="dms:Unknown"/>
      </xsd:simpleType>
    </xsd:element>
    <xsd:element name="ImageHeight" ma:index="11" nillable="true" ma:displayName="Kuvan korkeus" ma:internalName="ImageHeight" ma:readOnly="true">
      <xsd:simpleType>
        <xsd:restriction base="dms:Unknown"/>
      </xsd:simpleType>
    </xsd:element>
    <xsd:element name="ThumbnailExists" ma:index="12" nillable="true" ma:displayName="Pikkukuva on olemassa" ma:default="FALSE" ma:hidden="true" ma:internalName="ThumbnailExists" ma:readOnly="true">
      <xsd:simpleType>
        <xsd:restriction base="dms:Boolean"/>
      </xsd:simpleType>
    </xsd:element>
    <xsd:element name="PreviewExists" ma:index="13" nillable="true" ma:displayName="Esikatselu on olemassa" ma:default="FALSE" ma:hidden="true" ma:internalName="PreviewExists" ma:readOnly="true">
      <xsd:simpleType>
        <xsd:restriction base="dms:Boolean"/>
      </xsd:simpleType>
    </xsd:element>
    <xsd:element name="AlternateThumbnailUrl" ma:index="14" nillable="true" ma:displayName="Esikatselukuvan URL-osoite" ma:format="Image" ma:hidden="true" ma:internalName="AlternateThumbnailUrl">
      <xsd:complexType>
        <xsd:complexContent>
          <xsd:extension base="dms:URL">
            <xsd:sequence>
              <xsd:element name="Url" type="dms:ValidUrl" minOccurs="0" nillable="true"/>
              <xsd:element name="Description" type="xsd:string"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Tekijänoikeus" ma:internalName="wic_System_Copyright">
      <xsd:simpleType>
        <xsd:restriction base="dms:Note">
          <xsd:maxLength value="255"/>
        </xsd:restriction>
      </xsd:simpleType>
    </xsd:element>
    <xsd:element name="_Source" ma:index="28" nillable="true" ma:displayName="Lähde" ma:description="Viittaukset resursseihin, joista tämä resurssi on johdettu" ma:internalName="_Sourc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ebb82943-49da-4504-a2f3-a33fb2eb95f1" elementFormDefault="qualified">
    <xsd:import namespace="http://schemas.microsoft.com/office/2006/documentManagement/types"/>
    <xsd:import namespace="http://schemas.microsoft.com/office/infopath/2007/PartnerControls"/>
    <xsd:element name="SharedWithUsers" ma:index="27" nillable="true" ma:displayName="Jaettu"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TaxKeywordTaxHTField" ma:index="30" nillable="true" ma:taxonomy="true" ma:internalName="TaxKeywordTaxHTField" ma:taxonomyFieldName="TaxKeyword" ma:displayName="Yrityksen avainsanat" ma:fieldId="{23f27201-bee3-471e-b2e7-b64fd8b7ca38}" ma:taxonomyMulti="true" ma:sspId="128175dc-fbac-4635-ba94-1cd853fce4a0" ma:termSetId="00000000-0000-0000-0000-000000000000" ma:anchorId="00000000-0000-0000-0000-000000000000" ma:open="true" ma:isKeyword="true">
      <xsd:complexType>
        <xsd:sequence>
          <xsd:element ref="pc:Terms" minOccurs="0" maxOccurs="1"/>
        </xsd:sequence>
      </xsd:complexType>
    </xsd:element>
    <xsd:element name="TaxCatchAll" ma:index="31" nillable="true" ma:displayName="Taxonomy Catch All Column" ma:description="" ma:hidden="true" ma:list="{ca9c24f8-cccf-4c5b-880d-166164692fa1}" ma:internalName="TaxCatchAll" ma:showField="CatchAllData" ma:web="ebb82943-49da-4504-a2f3-a33fb2eb95f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5" ma:displayName="Sisältölaji"/>
        <xsd:element ref="dc:title" minOccurs="0" maxOccurs="1" ma:index="4" ma:displayName="Otsikko"/>
        <xsd:element ref="dc:subject" minOccurs="0" maxOccurs="1"/>
        <xsd:element ref="dc:description" minOccurs="0" maxOccurs="1"/>
        <xsd:element name="keywords" minOccurs="0" maxOccurs="1" type="xsd:string" ma:index="7" ma:displayName="Avainsanat"/>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9D8B2A4-D948-401F-B94E-DB579E67EB04}">
  <ds:schemaRefs>
    <ds:schemaRef ds:uri="http://purl.org/dc/terms/"/>
    <ds:schemaRef ds:uri="http://purl.org/dc/dcmitype/"/>
    <ds:schemaRef ds:uri="http://schemas.microsoft.com/office/2006/documentManagement/types"/>
    <ds:schemaRef ds:uri="http://purl.org/dc/elements/1.1/"/>
    <ds:schemaRef ds:uri="http://schemas.microsoft.com/office/2006/metadata/properties"/>
    <ds:schemaRef ds:uri="http://schemas.microsoft.com/office/infopath/2007/PartnerControls"/>
    <ds:schemaRef ds:uri="http://schemas.openxmlformats.org/package/2006/metadata/core-properties"/>
    <ds:schemaRef ds:uri="http://schemas.microsoft.com/sharepoint/v3"/>
    <ds:schemaRef ds:uri="ebb82943-49da-4504-a2f3-a33fb2eb95f1"/>
    <ds:schemaRef ds:uri="http://schemas.microsoft.com/sharepoint/v3/fields"/>
    <ds:schemaRef ds:uri="http://www.w3.org/XML/1998/namespace"/>
  </ds:schemaRefs>
</ds:datastoreItem>
</file>

<file path=customXml/itemProps2.xml><?xml version="1.0" encoding="utf-8"?>
<ds:datastoreItem xmlns:ds="http://schemas.openxmlformats.org/officeDocument/2006/customXml" ds:itemID="{8DC60803-EDD4-4A61-8D29-75C942C270EB}">
  <ds:schemaRefs>
    <ds:schemaRef ds:uri="http://schemas.microsoft.com/sharepoint/v3/contenttype/forms"/>
  </ds:schemaRefs>
</ds:datastoreItem>
</file>

<file path=customXml/itemProps3.xml><?xml version="1.0" encoding="utf-8"?>
<ds:datastoreItem xmlns:ds="http://schemas.openxmlformats.org/officeDocument/2006/customXml" ds:itemID="{05B2CEA8-EB0C-4C4A-989C-DCA5EF6F47E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sharepoint/v3/fields"/>
    <ds:schemaRef ds:uri="ebb82943-49da-4504-a2f3-a33fb2eb95f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LVM</Template>
  <TotalTime>0</TotalTime>
  <Words>827</Words>
  <Application>Microsoft Office PowerPoint</Application>
  <PresentationFormat>Laajakuva</PresentationFormat>
  <Paragraphs>59</Paragraphs>
  <Slides>13</Slides>
  <Notes>1</Notes>
  <HiddenSlides>0</HiddenSlides>
  <MMClips>0</MMClips>
  <ScaleCrop>false</ScaleCrop>
  <HeadingPairs>
    <vt:vector size="8" baseType="variant">
      <vt:variant>
        <vt:lpstr>Käytetyt fontit</vt:lpstr>
      </vt:variant>
      <vt:variant>
        <vt:i4>3</vt:i4>
      </vt:variant>
      <vt:variant>
        <vt:lpstr>Teema</vt:lpstr>
      </vt:variant>
      <vt:variant>
        <vt:i4>1</vt:i4>
      </vt:variant>
      <vt:variant>
        <vt:lpstr>Upotetut OLE-palvelimet</vt:lpstr>
      </vt:variant>
      <vt:variant>
        <vt:i4>1</vt:i4>
      </vt:variant>
      <vt:variant>
        <vt:lpstr>Dian otsikot</vt:lpstr>
      </vt:variant>
      <vt:variant>
        <vt:i4>13</vt:i4>
      </vt:variant>
    </vt:vector>
  </HeadingPairs>
  <TitlesOfParts>
    <vt:vector size="18" baseType="lpstr">
      <vt:lpstr>Arial</vt:lpstr>
      <vt:lpstr>Arial Bold</vt:lpstr>
      <vt:lpstr>Calibri</vt:lpstr>
      <vt:lpstr>Office-teema</vt:lpstr>
      <vt:lpstr>think-cell Slide</vt:lpstr>
      <vt:lpstr>Tillgänglighetsvision</vt:lpstr>
      <vt:lpstr>Visionen är en del av den mer omfattande trafiksystemplaneringen 1/2</vt:lpstr>
      <vt:lpstr>Visionen är en del av den mer omfattande trafiksystemplaneringen 2/2</vt:lpstr>
      <vt:lpstr>PowerPoint-esitys</vt:lpstr>
      <vt:lpstr>PowerPoint-esitys</vt:lpstr>
      <vt:lpstr>PowerPoint-esitys</vt:lpstr>
      <vt:lpstr>PowerPoint-esitys</vt:lpstr>
      <vt:lpstr>Målförslag: transportinfrastruktur </vt:lpstr>
      <vt:lpstr>Målförslag: transportservice </vt:lpstr>
      <vt:lpstr> Målförslag: transportmedel </vt:lpstr>
      <vt:lpstr>Förslag till mål: tillgänglighetsinformation </vt:lpstr>
      <vt:lpstr>Tidsplan</vt:lpstr>
      <vt:lpstr>PowerPoint-esitys</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1-04-16T12:53:52Z</dcterms:created>
  <dcterms:modified xsi:type="dcterms:W3CDTF">2023-06-26T10:38: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2008C3A917AD7B13B4CBA873D64B4B578D3</vt:lpwstr>
  </property>
  <property fmtid="{D5CDD505-2E9C-101B-9397-08002B2CF9AE}" pid="3" name="TaxKeyword">
    <vt:lpwstr/>
  </property>
</Properties>
</file>